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5"/>
  </p:sldMasterIdLst>
  <p:notesMasterIdLst>
    <p:notesMasterId r:id="rId41"/>
  </p:notesMasterIdLst>
  <p:sldIdLst>
    <p:sldId id="2682" r:id="rId16"/>
    <p:sldId id="2147470202" r:id="rId17"/>
    <p:sldId id="2147469718" r:id="rId18"/>
    <p:sldId id="2147469527" r:id="rId19"/>
    <p:sldId id="2147469546" r:id="rId20"/>
    <p:sldId id="2147470207" r:id="rId21"/>
    <p:sldId id="2147469731" r:id="rId22"/>
    <p:sldId id="2147469706" r:id="rId23"/>
    <p:sldId id="2147469705" r:id="rId24"/>
    <p:sldId id="2147470201" r:id="rId25"/>
    <p:sldId id="2147470211" r:id="rId26"/>
    <p:sldId id="2147470208" r:id="rId27"/>
    <p:sldId id="2147470209" r:id="rId28"/>
    <p:sldId id="2147470210" r:id="rId29"/>
    <p:sldId id="2147470196" r:id="rId30"/>
    <p:sldId id="2147469707" r:id="rId31"/>
    <p:sldId id="2147470206" r:id="rId32"/>
    <p:sldId id="2147469549" r:id="rId33"/>
    <p:sldId id="2147469720" r:id="rId34"/>
    <p:sldId id="258" r:id="rId35"/>
    <p:sldId id="257" r:id="rId36"/>
    <p:sldId id="2147469721" r:id="rId37"/>
    <p:sldId id="2147469710" r:id="rId38"/>
    <p:sldId id="2147470219" r:id="rId39"/>
    <p:sldId id="2147470190" r:id="rId40"/>
  </p:sldIdLst>
  <p:sldSz cx="12192000" cy="6858000"/>
  <p:notesSz cx="7023100" cy="93091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28E96072-F037-461C-BD17-F596E6ECA8AA}">
          <p14:sldIdLst>
            <p14:sldId id="2682"/>
            <p14:sldId id="2147470202"/>
          </p14:sldIdLst>
        </p14:section>
        <p14:section name="Why?" id="{5A94225B-7AAB-4A12-BD12-1242EBA5C035}">
          <p14:sldIdLst>
            <p14:sldId id="2147469718"/>
            <p14:sldId id="2147469527"/>
            <p14:sldId id="2147469546"/>
            <p14:sldId id="2147470207"/>
          </p14:sldIdLst>
        </p14:section>
        <p14:section name="know your data" id="{7B027A72-55B0-4D59-9883-06F4BAE64D8E}">
          <p14:sldIdLst>
            <p14:sldId id="2147469731"/>
            <p14:sldId id="2147469706"/>
            <p14:sldId id="2147469705"/>
            <p14:sldId id="2147470201"/>
            <p14:sldId id="2147470211"/>
            <p14:sldId id="2147470208"/>
            <p14:sldId id="2147470209"/>
            <p14:sldId id="2147470210"/>
            <p14:sldId id="2147470196"/>
            <p14:sldId id="2147469707"/>
          </p14:sldIdLst>
        </p14:section>
        <p14:section name="Protect Your Data" id="{B8813963-EE92-4A4E-9B6E-20DA1A7D5EE7}">
          <p14:sldIdLst>
            <p14:sldId id="2147470206"/>
            <p14:sldId id="2147469549"/>
            <p14:sldId id="2147469720"/>
          </p14:sldIdLst>
        </p14:section>
        <p14:section name="Prod vs Security" id="{9FEC811B-114C-4301-B5A2-46D0E8D36C5A}">
          <p14:sldIdLst>
            <p14:sldId id="258"/>
          </p14:sldIdLst>
        </p14:section>
        <p14:section name="Where to start and how?" id="{9755AF3B-021C-484D-9860-1A49922655AD}">
          <p14:sldIdLst>
            <p14:sldId id="257"/>
            <p14:sldId id="2147469721"/>
          </p14:sldIdLst>
        </p14:section>
        <p14:section name="Wrapping Up" id="{2467D69E-92CF-4DFB-83F5-3490B0BF055F}">
          <p14:sldIdLst>
            <p14:sldId id="2147469710"/>
            <p14:sldId id="2147470219"/>
            <p14:sldId id="2147470190"/>
          </p14:sldIdLst>
        </p14:section>
      </p14:sectionLst>
    </p:ext>
    <p:ext uri="{EFAFB233-063F-42B5-8137-9DF3F51BA10A}">
      <p15:sldGuideLst xmlns:p15="http://schemas.microsoft.com/office/powerpoint/2012/main">
        <p15:guide id="1" pos="4475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3" orient="horz" pos="1344" userDrawn="1">
          <p15:clr>
            <a:srgbClr val="A4A3A4"/>
          </p15:clr>
        </p15:guide>
        <p15:guide id="5" orient="horz" pos="3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9A0253-725A-D427-3E21-A8C3C6064F67}" name="Persoons, Mathias" initials="PM" userId="S::Mathias.Persoons@ordina.be::441499e7-dba7-4c31-965e-cd23754bcc1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8141" autoAdjust="0"/>
  </p:normalViewPr>
  <p:slideViewPr>
    <p:cSldViewPr snapToGrid="0">
      <p:cViewPr varScale="1">
        <p:scale>
          <a:sx n="63" d="100"/>
          <a:sy n="63" d="100"/>
        </p:scale>
        <p:origin x="1354" y="77"/>
      </p:cViewPr>
      <p:guideLst>
        <p:guide pos="4475"/>
        <p:guide pos="393"/>
        <p:guide orient="horz" pos="1344"/>
        <p:guide orient="horz" pos="3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presProps" Target="presProps.xml"/><Relationship Id="rId47" Type="http://schemas.microsoft.com/office/2018/10/relationships/authors" Target="author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microsoft.com/office/2016/11/relationships/changesInfo" Target="changesInfos/changesInfo1.xml"/><Relationship Id="rId20" Type="http://schemas.openxmlformats.org/officeDocument/2006/relationships/slide" Target="slides/slide5.xml"/><Relationship Id="rId41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soons, Mathias" userId="441499e7-dba7-4c31-965e-cd23754bcc13" providerId="ADAL" clId="{1426C7AD-FF65-40BC-8F45-13352AF4A21C}"/>
    <pc:docChg chg="undo redo custSel addSld delSld modSld sldOrd addSection delSection modSection">
      <pc:chgData name="Persoons, Mathias" userId="441499e7-dba7-4c31-965e-cd23754bcc13" providerId="ADAL" clId="{1426C7AD-FF65-40BC-8F45-13352AF4A21C}" dt="2023-06-26T17:44:33.072" v="15183" actId="729"/>
      <pc:docMkLst>
        <pc:docMk/>
      </pc:docMkLst>
      <pc:sldChg chg="modSp del mod">
        <pc:chgData name="Persoons, Mathias" userId="441499e7-dba7-4c31-965e-cd23754bcc13" providerId="ADAL" clId="{1426C7AD-FF65-40BC-8F45-13352AF4A21C}" dt="2023-05-04T08:10:49.266" v="642" actId="47"/>
        <pc:sldMkLst>
          <pc:docMk/>
          <pc:sldMk cId="1696113418" sldId="256"/>
        </pc:sldMkLst>
        <pc:spChg chg="mod">
          <ac:chgData name="Persoons, Mathias" userId="441499e7-dba7-4c31-965e-cd23754bcc13" providerId="ADAL" clId="{1426C7AD-FF65-40BC-8F45-13352AF4A21C}" dt="2023-05-04T08:10:46.907" v="641" actId="21"/>
          <ac:spMkLst>
            <pc:docMk/>
            <pc:sldMk cId="1696113418" sldId="256"/>
            <ac:spMk id="2" creationId="{2200C068-AC44-C14D-8BD6-9A22F59FD82C}"/>
          </ac:spMkLst>
        </pc:spChg>
      </pc:sldChg>
      <pc:sldChg chg="modSp new mod ord modTransition modAnim modNotesTx">
        <pc:chgData name="Persoons, Mathias" userId="441499e7-dba7-4c31-965e-cd23754bcc13" providerId="ADAL" clId="{1426C7AD-FF65-40BC-8F45-13352AF4A21C}" dt="2023-06-26T11:42:51.122" v="15116"/>
        <pc:sldMkLst>
          <pc:docMk/>
          <pc:sldMk cId="1836638084" sldId="257"/>
        </pc:sldMkLst>
        <pc:spChg chg="mod">
          <ac:chgData name="Persoons, Mathias" userId="441499e7-dba7-4c31-965e-cd23754bcc13" providerId="ADAL" clId="{1426C7AD-FF65-40BC-8F45-13352AF4A21C}" dt="2023-04-25T14:14:59.434" v="27" actId="20577"/>
          <ac:spMkLst>
            <pc:docMk/>
            <pc:sldMk cId="1836638084" sldId="257"/>
            <ac:spMk id="2" creationId="{0696D550-AA1E-19CB-F8FC-4550598E91F5}"/>
          </ac:spMkLst>
        </pc:spChg>
      </pc:sldChg>
      <pc:sldChg chg="modSp new mod modTransition modNotesTx">
        <pc:chgData name="Persoons, Mathias" userId="441499e7-dba7-4c31-965e-cd23754bcc13" providerId="ADAL" clId="{1426C7AD-FF65-40BC-8F45-13352AF4A21C}" dt="2023-06-25T07:25:44.360" v="8275"/>
        <pc:sldMkLst>
          <pc:docMk/>
          <pc:sldMk cId="3397427048" sldId="258"/>
        </pc:sldMkLst>
        <pc:spChg chg="mod">
          <ac:chgData name="Persoons, Mathias" userId="441499e7-dba7-4c31-965e-cd23754bcc13" providerId="ADAL" clId="{1426C7AD-FF65-40BC-8F45-13352AF4A21C}" dt="2023-04-25T14:15:36.700" v="68" actId="20577"/>
          <ac:spMkLst>
            <pc:docMk/>
            <pc:sldMk cId="3397427048" sldId="258"/>
            <ac:spMk id="2" creationId="{793D91DF-4427-47DB-79BA-2F8B12080944}"/>
          </ac:spMkLst>
        </pc:spChg>
        <pc:spChg chg="mod">
          <ac:chgData name="Persoons, Mathias" userId="441499e7-dba7-4c31-965e-cd23754bcc13" providerId="ADAL" clId="{1426C7AD-FF65-40BC-8F45-13352AF4A21C}" dt="2023-06-02T12:49:27.557" v="1735" actId="20577"/>
          <ac:spMkLst>
            <pc:docMk/>
            <pc:sldMk cId="3397427048" sldId="258"/>
            <ac:spMk id="3" creationId="{7AD2C646-ABE7-E893-0CD9-843A4C232524}"/>
          </ac:spMkLst>
        </pc:spChg>
      </pc:sldChg>
      <pc:sldChg chg="modSp new mod">
        <pc:chgData name="Persoons, Mathias" userId="441499e7-dba7-4c31-965e-cd23754bcc13" providerId="ADAL" clId="{1426C7AD-FF65-40BC-8F45-13352AF4A21C}" dt="2023-04-25T14:15:50.463" v="74" actId="20577"/>
        <pc:sldMkLst>
          <pc:docMk/>
          <pc:sldMk cId="453012503" sldId="259"/>
        </pc:sldMkLst>
        <pc:spChg chg="mod">
          <ac:chgData name="Persoons, Mathias" userId="441499e7-dba7-4c31-965e-cd23754bcc13" providerId="ADAL" clId="{1426C7AD-FF65-40BC-8F45-13352AF4A21C}" dt="2023-04-25T14:15:50.463" v="74" actId="20577"/>
          <ac:spMkLst>
            <pc:docMk/>
            <pc:sldMk cId="453012503" sldId="259"/>
            <ac:spMk id="2" creationId="{02A35E91-300D-3181-7E12-88F85E0B7D50}"/>
          </ac:spMkLst>
        </pc:spChg>
      </pc:sldChg>
      <pc:sldChg chg="addSp modSp mod modTransition modNotesTx">
        <pc:chgData name="Persoons, Mathias" userId="441499e7-dba7-4c31-965e-cd23754bcc13" providerId="ADAL" clId="{1426C7AD-FF65-40BC-8F45-13352AF4A21C}" dt="2023-06-26T16:16:18.128" v="15181" actId="1035"/>
        <pc:sldMkLst>
          <pc:docMk/>
          <pc:sldMk cId="1788363932" sldId="2682"/>
        </pc:sldMkLst>
        <pc:grpChg chg="mod">
          <ac:chgData name="Persoons, Mathias" userId="441499e7-dba7-4c31-965e-cd23754bcc13" providerId="ADAL" clId="{1426C7AD-FF65-40BC-8F45-13352AF4A21C}" dt="2023-06-14T14:20:13.274" v="2912" actId="1076"/>
          <ac:grpSpMkLst>
            <pc:docMk/>
            <pc:sldMk cId="1788363932" sldId="2682"/>
            <ac:grpSpMk id="5" creationId="{16D8C4B2-1496-28EC-9AAC-9958F6C9F518}"/>
          </ac:grpSpMkLst>
        </pc:grpChg>
        <pc:picChg chg="mod">
          <ac:chgData name="Persoons, Mathias" userId="441499e7-dba7-4c31-965e-cd23754bcc13" providerId="ADAL" clId="{1426C7AD-FF65-40BC-8F45-13352AF4A21C}" dt="2023-06-14T14:20:13.274" v="2912" actId="1076"/>
          <ac:picMkLst>
            <pc:docMk/>
            <pc:sldMk cId="1788363932" sldId="2682"/>
            <ac:picMk id="2" creationId="{972D20DE-2B24-A665-EBCC-9F5EC2BC0B11}"/>
          </ac:picMkLst>
        </pc:picChg>
        <pc:picChg chg="mod">
          <ac:chgData name="Persoons, Mathias" userId="441499e7-dba7-4c31-965e-cd23754bcc13" providerId="ADAL" clId="{1426C7AD-FF65-40BC-8F45-13352AF4A21C}" dt="2023-06-26T16:16:18.128" v="15181" actId="1035"/>
          <ac:picMkLst>
            <pc:docMk/>
            <pc:sldMk cId="1788363932" sldId="2682"/>
            <ac:picMk id="4" creationId="{59EB6EFA-537B-2E44-9E4F-F0D4332B3F71}"/>
          </ac:picMkLst>
        </pc:picChg>
        <pc:picChg chg="add mod ord">
          <ac:chgData name="Persoons, Mathias" userId="441499e7-dba7-4c31-965e-cd23754bcc13" providerId="ADAL" clId="{1426C7AD-FF65-40BC-8F45-13352AF4A21C}" dt="2023-06-14T14:20:20.412" v="2913" actId="1076"/>
          <ac:picMkLst>
            <pc:docMk/>
            <pc:sldMk cId="1788363932" sldId="2682"/>
            <ac:picMk id="8" creationId="{043D2D67-990B-47F2-2CF7-806BE483533D}"/>
          </ac:picMkLst>
        </pc:picChg>
        <pc:picChg chg="mod">
          <ac:chgData name="Persoons, Mathias" userId="441499e7-dba7-4c31-965e-cd23754bcc13" providerId="ADAL" clId="{1426C7AD-FF65-40BC-8F45-13352AF4A21C}" dt="2023-06-14T14:20:13.274" v="2912" actId="1076"/>
          <ac:picMkLst>
            <pc:docMk/>
            <pc:sldMk cId="1788363932" sldId="2682"/>
            <ac:picMk id="41986" creationId="{93914C5E-D641-D285-387C-A2650FDA9AD0}"/>
          </ac:picMkLst>
        </pc:picChg>
      </pc:sldChg>
      <pc:sldChg chg="delSp modSp add mod setBg">
        <pc:chgData name="Persoons, Mathias" userId="441499e7-dba7-4c31-965e-cd23754bcc13" providerId="ADAL" clId="{1426C7AD-FF65-40BC-8F45-13352AF4A21C}" dt="2023-05-10T11:13:49.361" v="1041" actId="478"/>
        <pc:sldMkLst>
          <pc:docMk/>
          <pc:sldMk cId="937078507" sldId="2147469525"/>
        </pc:sldMkLst>
        <pc:spChg chg="mod">
          <ac:chgData name="Persoons, Mathias" userId="441499e7-dba7-4c31-965e-cd23754bcc13" providerId="ADAL" clId="{1426C7AD-FF65-40BC-8F45-13352AF4A21C}" dt="2023-05-10T11:13:27.988" v="1039" actId="1076"/>
          <ac:spMkLst>
            <pc:docMk/>
            <pc:sldMk cId="937078507" sldId="2147469525"/>
            <ac:spMk id="105" creationId="{2E7F0C63-7891-4ADC-9FDE-2B1D159B83AA}"/>
          </ac:spMkLst>
        </pc:spChg>
        <pc:spChg chg="del">
          <ac:chgData name="Persoons, Mathias" userId="441499e7-dba7-4c31-965e-cd23754bcc13" providerId="ADAL" clId="{1426C7AD-FF65-40BC-8F45-13352AF4A21C}" dt="2023-05-10T11:13:49.361" v="1041" actId="478"/>
          <ac:spMkLst>
            <pc:docMk/>
            <pc:sldMk cId="937078507" sldId="2147469525"/>
            <ac:spMk id="121" creationId="{C5BAEBB3-CE20-493E-9410-4AA69265C2F9}"/>
          </ac:spMkLst>
        </pc:spChg>
        <pc:picChg chg="del">
          <ac:chgData name="Persoons, Mathias" userId="441499e7-dba7-4c31-965e-cd23754bcc13" providerId="ADAL" clId="{1426C7AD-FF65-40BC-8F45-13352AF4A21C}" dt="2023-05-10T11:13:46.090" v="1040" actId="478"/>
          <ac:picMkLst>
            <pc:docMk/>
            <pc:sldMk cId="937078507" sldId="2147469525"/>
            <ac:picMk id="79" creationId="{86FBCC8D-A10F-471A-AC46-D52743097A7A}"/>
          </ac:picMkLst>
        </pc:picChg>
      </pc:sldChg>
      <pc:sldChg chg="modSp add mod modTransition modNotesTx">
        <pc:chgData name="Persoons, Mathias" userId="441499e7-dba7-4c31-965e-cd23754bcc13" providerId="ADAL" clId="{1426C7AD-FF65-40BC-8F45-13352AF4A21C}" dt="2023-06-25T07:25:44.360" v="8275"/>
        <pc:sldMkLst>
          <pc:docMk/>
          <pc:sldMk cId="2507184362" sldId="2147469527"/>
        </pc:sldMkLst>
        <pc:spChg chg="mod">
          <ac:chgData name="Persoons, Mathias" userId="441499e7-dba7-4c31-965e-cd23754bcc13" providerId="ADAL" clId="{1426C7AD-FF65-40BC-8F45-13352AF4A21C}" dt="2023-05-17T11:23:21.159" v="1222" actId="14100"/>
          <ac:spMkLst>
            <pc:docMk/>
            <pc:sldMk cId="2507184362" sldId="2147469527"/>
            <ac:spMk id="5" creationId="{A6BD051E-82B7-47D2-8EF8-320D329FCC0F}"/>
          </ac:spMkLst>
        </pc:spChg>
        <pc:spChg chg="mod">
          <ac:chgData name="Persoons, Mathias" userId="441499e7-dba7-4c31-965e-cd23754bcc13" providerId="ADAL" clId="{1426C7AD-FF65-40BC-8F45-13352AF4A21C}" dt="2023-05-17T10:50:54.677" v="1116" actId="20577"/>
          <ac:spMkLst>
            <pc:docMk/>
            <pc:sldMk cId="2507184362" sldId="2147469527"/>
            <ac:spMk id="39" creationId="{6B6772D9-200C-4A4A-8D09-55C1003FF61C}"/>
          </ac:spMkLst>
        </pc:spChg>
      </pc:sldChg>
      <pc:sldChg chg="addSp delSp modSp add mod modTransition setBg modNotesTx">
        <pc:chgData name="Persoons, Mathias" userId="441499e7-dba7-4c31-965e-cd23754bcc13" providerId="ADAL" clId="{1426C7AD-FF65-40BC-8F45-13352AF4A21C}" dt="2023-06-25T07:25:44.360" v="8275"/>
        <pc:sldMkLst>
          <pc:docMk/>
          <pc:sldMk cId="2767927351" sldId="2147469546"/>
        </pc:sldMkLst>
        <pc:spChg chg="mod">
          <ac:chgData name="Persoons, Mathias" userId="441499e7-dba7-4c31-965e-cd23754bcc13" providerId="ADAL" clId="{1426C7AD-FF65-40BC-8F45-13352AF4A21C}" dt="2023-05-10T11:31:45.214" v="1064" actId="20577"/>
          <ac:spMkLst>
            <pc:docMk/>
            <pc:sldMk cId="2767927351" sldId="2147469546"/>
            <ac:spMk id="2" creationId="{0B456289-2F8C-46ED-8EF5-AEF0B181A879}"/>
          </ac:spMkLst>
        </pc:spChg>
        <pc:spChg chg="mod">
          <ac:chgData name="Persoons, Mathias" userId="441499e7-dba7-4c31-965e-cd23754bcc13" providerId="ADAL" clId="{1426C7AD-FF65-40BC-8F45-13352AF4A21C}" dt="2023-04-26T14:16:31.433" v="613" actId="1076"/>
          <ac:spMkLst>
            <pc:docMk/>
            <pc:sldMk cId="2767927351" sldId="2147469546"/>
            <ac:spMk id="22" creationId="{193524CE-AECA-4674-879F-960CA3B03785}"/>
          </ac:spMkLst>
        </pc:spChg>
        <pc:picChg chg="add del">
          <ac:chgData name="Persoons, Mathias" userId="441499e7-dba7-4c31-965e-cd23754bcc13" providerId="ADAL" clId="{1426C7AD-FF65-40BC-8F45-13352AF4A21C}" dt="2023-05-10T11:20:02.105" v="1044"/>
          <ac:picMkLst>
            <pc:docMk/>
            <pc:sldMk cId="2767927351" sldId="2147469546"/>
            <ac:picMk id="1026" creationId="{8526DB0C-4BFC-7DDC-015B-22FA0F4ADF10}"/>
          </ac:picMkLst>
        </pc:picChg>
      </pc:sldChg>
      <pc:sldChg chg="addSp delSp modSp mod modTransition modClrScheme modAnim addCm delCm chgLayout modNotesTx">
        <pc:chgData name="Persoons, Mathias" userId="441499e7-dba7-4c31-965e-cd23754bcc13" providerId="ADAL" clId="{1426C7AD-FF65-40BC-8F45-13352AF4A21C}" dt="2023-06-26T13:26:32.475" v="15178" actId="20577"/>
        <pc:sldMkLst>
          <pc:docMk/>
          <pc:sldMk cId="3580978443" sldId="2147469549"/>
        </pc:sldMkLst>
        <pc:spChg chg="mod">
          <ac:chgData name="Persoons, Mathias" userId="441499e7-dba7-4c31-965e-cd23754bcc13" providerId="ADAL" clId="{1426C7AD-FF65-40BC-8F45-13352AF4A21C}" dt="2023-05-17T11:11:10.286" v="1217" actId="1076"/>
          <ac:spMkLst>
            <pc:docMk/>
            <pc:sldMk cId="3580978443" sldId="2147469549"/>
            <ac:spMk id="2" creationId="{26B1E595-8D2B-FCC0-3450-88F880E14FEF}"/>
          </ac:spMkLst>
        </pc:spChg>
        <pc:spChg chg="add del mod">
          <ac:chgData name="Persoons, Mathias" userId="441499e7-dba7-4c31-965e-cd23754bcc13" providerId="ADAL" clId="{1426C7AD-FF65-40BC-8F45-13352AF4A21C}" dt="2023-05-04T07:36:25.684" v="638"/>
          <ac:spMkLst>
            <pc:docMk/>
            <pc:sldMk cId="3580978443" sldId="2147469549"/>
            <ac:spMk id="2" creationId="{A1558A1C-942F-B810-FE2C-644990473611}"/>
          </ac:spMkLst>
        </pc:spChg>
        <pc:spChg chg="mod ord">
          <ac:chgData name="Persoons, Mathias" userId="441499e7-dba7-4c31-965e-cd23754bcc13" providerId="ADAL" clId="{1426C7AD-FF65-40BC-8F45-13352AF4A21C}" dt="2023-05-04T07:36:25.684" v="638"/>
          <ac:spMkLst>
            <pc:docMk/>
            <pc:sldMk cId="3580978443" sldId="2147469549"/>
            <ac:spMk id="3" creationId="{E200F3F4-D6E2-447B-89CD-AE30D2853553}"/>
          </ac:spMkLst>
        </pc:spChg>
        <pc:spChg chg="mod">
          <ac:chgData name="Persoons, Mathias" userId="441499e7-dba7-4c31-965e-cd23754bcc13" providerId="ADAL" clId="{1426C7AD-FF65-40BC-8F45-13352AF4A21C}" dt="2023-05-17T11:10:45.960" v="1211"/>
          <ac:spMkLst>
            <pc:docMk/>
            <pc:sldMk cId="3580978443" sldId="2147469549"/>
            <ac:spMk id="4" creationId="{6FE29DA2-3EC2-2DDB-0564-61EF10273EB0}"/>
          </ac:spMkLst>
        </pc:spChg>
        <pc:spChg chg="add del mod">
          <ac:chgData name="Persoons, Mathias" userId="441499e7-dba7-4c31-965e-cd23754bcc13" providerId="ADAL" clId="{1426C7AD-FF65-40BC-8F45-13352AF4A21C}" dt="2023-05-04T07:36:25.684" v="638"/>
          <ac:spMkLst>
            <pc:docMk/>
            <pc:sldMk cId="3580978443" sldId="2147469549"/>
            <ac:spMk id="4" creationId="{C8132E8E-8564-BB4A-8E67-1190BC0DCA54}"/>
          </ac:spMkLst>
        </pc:spChg>
        <pc:spChg chg="mod">
          <ac:chgData name="Persoons, Mathias" userId="441499e7-dba7-4c31-965e-cd23754bcc13" providerId="ADAL" clId="{1426C7AD-FF65-40BC-8F45-13352AF4A21C}" dt="2023-05-17T11:10:45.960" v="1211"/>
          <ac:spMkLst>
            <pc:docMk/>
            <pc:sldMk cId="3580978443" sldId="2147469549"/>
            <ac:spMk id="5" creationId="{B99786C1-2760-47D1-6EF4-35F6A1AC9EBE}"/>
          </ac:spMkLst>
        </pc:spChg>
        <pc:spChg chg="add del mod">
          <ac:chgData name="Persoons, Mathias" userId="441499e7-dba7-4c31-965e-cd23754bcc13" providerId="ADAL" clId="{1426C7AD-FF65-40BC-8F45-13352AF4A21C}" dt="2023-05-04T07:36:25.684" v="638"/>
          <ac:spMkLst>
            <pc:docMk/>
            <pc:sldMk cId="3580978443" sldId="2147469549"/>
            <ac:spMk id="5" creationId="{C54E0819-F05D-333A-EB4A-3B57319C2C47}"/>
          </ac:spMkLst>
        </pc:spChg>
        <pc:spChg chg="add del mod">
          <ac:chgData name="Persoons, Mathias" userId="441499e7-dba7-4c31-965e-cd23754bcc13" providerId="ADAL" clId="{1426C7AD-FF65-40BC-8F45-13352AF4A21C}" dt="2023-05-04T07:36:25.684" v="638"/>
          <ac:spMkLst>
            <pc:docMk/>
            <pc:sldMk cId="3580978443" sldId="2147469549"/>
            <ac:spMk id="6" creationId="{4D0AE47C-5C78-9739-B472-554D58901CDC}"/>
          </ac:spMkLst>
        </pc:spChg>
        <pc:spChg chg="mod">
          <ac:chgData name="Persoons, Mathias" userId="441499e7-dba7-4c31-965e-cd23754bcc13" providerId="ADAL" clId="{1426C7AD-FF65-40BC-8F45-13352AF4A21C}" dt="2023-05-17T11:10:45.960" v="1211"/>
          <ac:spMkLst>
            <pc:docMk/>
            <pc:sldMk cId="3580978443" sldId="2147469549"/>
            <ac:spMk id="6" creationId="{79C26AD9-44CE-9516-74BB-B8A09C82CC0B}"/>
          </ac:spMkLst>
        </pc:spChg>
        <pc:spChg chg="del">
          <ac:chgData name="Persoons, Mathias" userId="441499e7-dba7-4c31-965e-cd23754bcc13" providerId="ADAL" clId="{1426C7AD-FF65-40BC-8F45-13352AF4A21C}" dt="2023-06-02T11:31:30.387" v="1478" actId="478"/>
          <ac:spMkLst>
            <pc:docMk/>
            <pc:sldMk cId="3580978443" sldId="2147469549"/>
            <ac:spMk id="6" creationId="{EF822E2F-2F6F-1AE8-CBD7-22D413F680EE}"/>
          </ac:spMkLst>
        </pc:spChg>
        <pc:spChg chg="del">
          <ac:chgData name="Persoons, Mathias" userId="441499e7-dba7-4c31-965e-cd23754bcc13" providerId="ADAL" clId="{1426C7AD-FF65-40BC-8F45-13352AF4A21C}" dt="2023-05-17T11:10:44.291" v="1210" actId="478"/>
          <ac:spMkLst>
            <pc:docMk/>
            <pc:sldMk cId="3580978443" sldId="2147469549"/>
            <ac:spMk id="7" creationId="{12B7E2A7-8F9A-4AC4-A44B-F3AD5E12C827}"/>
          </ac:spMkLst>
        </pc:spChg>
        <pc:spChg chg="mod ord">
          <ac:chgData name="Persoons, Mathias" userId="441499e7-dba7-4c31-965e-cd23754bcc13" providerId="ADAL" clId="{1426C7AD-FF65-40BC-8F45-13352AF4A21C}" dt="2023-06-26T12:18:15.907" v="15117" actId="20577"/>
          <ac:spMkLst>
            <pc:docMk/>
            <pc:sldMk cId="3580978443" sldId="2147469549"/>
            <ac:spMk id="8" creationId="{0315F19B-DA0F-4BE3-AD29-99CC1DEFB9B3}"/>
          </ac:spMkLst>
        </pc:spChg>
        <pc:spChg chg="mod">
          <ac:chgData name="Persoons, Mathias" userId="441499e7-dba7-4c31-965e-cd23754bcc13" providerId="ADAL" clId="{1426C7AD-FF65-40BC-8F45-13352AF4A21C}" dt="2023-05-17T11:10:45.960" v="1211"/>
          <ac:spMkLst>
            <pc:docMk/>
            <pc:sldMk cId="3580978443" sldId="2147469549"/>
            <ac:spMk id="10" creationId="{5840D066-7870-5F38-782D-B67B179FD4A0}"/>
          </ac:spMkLst>
        </pc:spChg>
        <pc:spChg chg="mod">
          <ac:chgData name="Persoons, Mathias" userId="441499e7-dba7-4c31-965e-cd23754bcc13" providerId="ADAL" clId="{1426C7AD-FF65-40BC-8F45-13352AF4A21C}" dt="2023-05-17T11:10:45.960" v="1211"/>
          <ac:spMkLst>
            <pc:docMk/>
            <pc:sldMk cId="3580978443" sldId="2147469549"/>
            <ac:spMk id="11" creationId="{7A73E994-09B0-5EF8-1BD5-C33E7BCE7577}"/>
          </ac:spMkLst>
        </pc:spChg>
        <pc:grpChg chg="add del mod">
          <ac:chgData name="Persoons, Mathias" userId="441499e7-dba7-4c31-965e-cd23754bcc13" providerId="ADAL" clId="{1426C7AD-FF65-40BC-8F45-13352AF4A21C}" dt="2023-05-17T11:10:49.360" v="1212"/>
          <ac:grpSpMkLst>
            <pc:docMk/>
            <pc:sldMk cId="3580978443" sldId="2147469549"/>
            <ac:grpSpMk id="3" creationId="{625BF1F8-F3DB-9CAD-DFFE-96D05E307516}"/>
          </ac:grpSpMkLst>
        </pc:grpChg>
        <pc:grpChg chg="mod">
          <ac:chgData name="Persoons, Mathias" userId="441499e7-dba7-4c31-965e-cd23754bcc13" providerId="ADAL" clId="{1426C7AD-FF65-40BC-8F45-13352AF4A21C}" dt="2023-05-17T11:10:45.960" v="1211"/>
          <ac:grpSpMkLst>
            <pc:docMk/>
            <pc:sldMk cId="3580978443" sldId="2147469549"/>
            <ac:grpSpMk id="9" creationId="{7EDD73F9-A4E6-BC68-182E-FDA82939EAF8}"/>
          </ac:grpSpMkLst>
        </pc:grpChg>
        <pc:picChg chg="mod modCrop">
          <ac:chgData name="Persoons, Mathias" userId="441499e7-dba7-4c31-965e-cd23754bcc13" providerId="ADAL" clId="{1426C7AD-FF65-40BC-8F45-13352AF4A21C}" dt="2023-06-21T13:22:49.213" v="8137" actId="14100"/>
          <ac:picMkLst>
            <pc:docMk/>
            <pc:sldMk cId="3580978443" sldId="2147469549"/>
            <ac:picMk id="3" creationId="{3EC02E91-8D6A-6ED9-8C6C-8705DCF9ADAD}"/>
          </ac:picMkLst>
        </pc:picChg>
        <pc:picChg chg="add mod">
          <ac:chgData name="Persoons, Mathias" userId="441499e7-dba7-4c31-965e-cd23754bcc13" providerId="ADAL" clId="{1426C7AD-FF65-40BC-8F45-13352AF4A21C}" dt="2023-05-17T11:11:03.396" v="1216" actId="1076"/>
          <ac:picMkLst>
            <pc:docMk/>
            <pc:sldMk cId="3580978443" sldId="2147469549"/>
            <ac:picMk id="12" creationId="{52DB36BB-42CC-F38D-A44B-796E1DC87329}"/>
          </ac:picMkLst>
        </pc:picChg>
      </pc:sldChg>
      <pc:sldChg chg="addSp delSp mod modNotesTx">
        <pc:chgData name="Persoons, Mathias" userId="441499e7-dba7-4c31-965e-cd23754bcc13" providerId="ADAL" clId="{1426C7AD-FF65-40BC-8F45-13352AF4A21C}" dt="2023-05-26T06:42:38.131" v="1461" actId="478"/>
        <pc:sldMkLst>
          <pc:docMk/>
          <pc:sldMk cId="3196080957" sldId="2147469695"/>
        </pc:sldMkLst>
        <pc:spChg chg="del topLvl">
          <ac:chgData name="Persoons, Mathias" userId="441499e7-dba7-4c31-965e-cd23754bcc13" providerId="ADAL" clId="{1426C7AD-FF65-40BC-8F45-13352AF4A21C}" dt="2023-05-10T11:11:24.648" v="1029" actId="478"/>
          <ac:spMkLst>
            <pc:docMk/>
            <pc:sldMk cId="3196080957" sldId="2147469695"/>
            <ac:spMk id="13" creationId="{43347938-AB3D-413A-B480-630DDDB89495}"/>
          </ac:spMkLst>
        </pc:spChg>
        <pc:spChg chg="del">
          <ac:chgData name="Persoons, Mathias" userId="441499e7-dba7-4c31-965e-cd23754bcc13" providerId="ADAL" clId="{1426C7AD-FF65-40BC-8F45-13352AF4A21C}" dt="2023-05-26T06:42:38.131" v="1461" actId="478"/>
          <ac:spMkLst>
            <pc:docMk/>
            <pc:sldMk cId="3196080957" sldId="2147469695"/>
            <ac:spMk id="14" creationId="{A3B8F67C-2426-4C0C-9728-50501D67455D}"/>
          </ac:spMkLst>
        </pc:spChg>
        <pc:grpChg chg="del">
          <ac:chgData name="Persoons, Mathias" userId="441499e7-dba7-4c31-965e-cd23754bcc13" providerId="ADAL" clId="{1426C7AD-FF65-40BC-8F45-13352AF4A21C}" dt="2023-05-10T11:11:24.648" v="1029" actId="478"/>
          <ac:grpSpMkLst>
            <pc:docMk/>
            <pc:sldMk cId="3196080957" sldId="2147469695"/>
            <ac:grpSpMk id="3" creationId="{771FF9D8-F6E4-4FFF-834F-3A8C4654A9A7}"/>
          </ac:grpSpMkLst>
        </pc:grpChg>
        <pc:picChg chg="add del topLvl">
          <ac:chgData name="Persoons, Mathias" userId="441499e7-dba7-4c31-965e-cd23754bcc13" providerId="ADAL" clId="{1426C7AD-FF65-40BC-8F45-13352AF4A21C}" dt="2023-05-10T11:11:27.554" v="1031" actId="21"/>
          <ac:picMkLst>
            <pc:docMk/>
            <pc:sldMk cId="3196080957" sldId="2147469695"/>
            <ac:picMk id="6" creationId="{DDDCC40A-CE90-43B8-8E2C-7758E1EEAAC0}"/>
          </ac:picMkLst>
        </pc:picChg>
      </pc:sldChg>
      <pc:sldChg chg="addSp delSp modSp del mod modClrScheme modShow chgLayout">
        <pc:chgData name="Persoons, Mathias" userId="441499e7-dba7-4c31-965e-cd23754bcc13" providerId="ADAL" clId="{1426C7AD-FF65-40BC-8F45-13352AF4A21C}" dt="2023-06-02T08:33:47.791" v="1463" actId="47"/>
        <pc:sldMkLst>
          <pc:docMk/>
          <pc:sldMk cId="3917335309" sldId="2147469704"/>
        </pc:sldMkLst>
        <pc:spChg chg="add del mod ord">
          <ac:chgData name="Persoons, Mathias" userId="441499e7-dba7-4c31-965e-cd23754bcc13" providerId="ADAL" clId="{1426C7AD-FF65-40BC-8F45-13352AF4A21C}" dt="2023-05-04T07:35:16.699" v="631" actId="700"/>
          <ac:spMkLst>
            <pc:docMk/>
            <pc:sldMk cId="3917335309" sldId="2147469704"/>
            <ac:spMk id="2" creationId="{F841F7D1-6A75-DF65-7BD0-CC711AD4078A}"/>
          </ac:spMkLst>
        </pc:spChg>
        <pc:spChg chg="add mod ord">
          <ac:chgData name="Persoons, Mathias" userId="441499e7-dba7-4c31-965e-cd23754bcc13" providerId="ADAL" clId="{1426C7AD-FF65-40BC-8F45-13352AF4A21C}" dt="2023-05-04T07:35:16.699" v="631" actId="700"/>
          <ac:spMkLst>
            <pc:docMk/>
            <pc:sldMk cId="3917335309" sldId="2147469704"/>
            <ac:spMk id="3" creationId="{D5A42CCC-E0DD-E399-94F1-6A60C5452D83}"/>
          </ac:spMkLst>
        </pc:spChg>
        <pc:spChg chg="add mod ord">
          <ac:chgData name="Persoons, Mathias" userId="441499e7-dba7-4c31-965e-cd23754bcc13" providerId="ADAL" clId="{1426C7AD-FF65-40BC-8F45-13352AF4A21C}" dt="2023-05-04T07:35:16.699" v="631" actId="700"/>
          <ac:spMkLst>
            <pc:docMk/>
            <pc:sldMk cId="3917335309" sldId="2147469704"/>
            <ac:spMk id="4" creationId="{0F3A1D50-3B0C-7A7A-5C16-46877784740A}"/>
          </ac:spMkLst>
        </pc:spChg>
        <pc:spChg chg="del">
          <ac:chgData name="Persoons, Mathias" userId="441499e7-dba7-4c31-965e-cd23754bcc13" providerId="ADAL" clId="{1426C7AD-FF65-40BC-8F45-13352AF4A21C}" dt="2023-05-04T07:34:59.792" v="630" actId="700"/>
          <ac:spMkLst>
            <pc:docMk/>
            <pc:sldMk cId="3917335309" sldId="2147469704"/>
            <ac:spMk id="13" creationId="{A2AC7674-5F9F-45AC-9F41-482AB43323A4}"/>
          </ac:spMkLst>
        </pc:spChg>
        <pc:picChg chg="mod">
          <ac:chgData name="Persoons, Mathias" userId="441499e7-dba7-4c31-965e-cd23754bcc13" providerId="ADAL" clId="{1426C7AD-FF65-40BC-8F45-13352AF4A21C}" dt="2023-05-04T07:35:27.008" v="634" actId="1076"/>
          <ac:picMkLst>
            <pc:docMk/>
            <pc:sldMk cId="3917335309" sldId="2147469704"/>
            <ac:picMk id="16" creationId="{880463AC-D17C-4E4E-AC5B-0AC312C8EA86}"/>
          </ac:picMkLst>
        </pc:picChg>
        <pc:picChg chg="mod">
          <ac:chgData name="Persoons, Mathias" userId="441499e7-dba7-4c31-965e-cd23754bcc13" providerId="ADAL" clId="{1426C7AD-FF65-40BC-8F45-13352AF4A21C}" dt="2023-05-04T07:35:21.710" v="633" actId="1076"/>
          <ac:picMkLst>
            <pc:docMk/>
            <pc:sldMk cId="3917335309" sldId="2147469704"/>
            <ac:picMk id="17" creationId="{8A02928F-C397-4E26-B453-73B136E4170B}"/>
          </ac:picMkLst>
        </pc:picChg>
        <pc:picChg chg="mod">
          <ac:chgData name="Persoons, Mathias" userId="441499e7-dba7-4c31-965e-cd23754bcc13" providerId="ADAL" clId="{1426C7AD-FF65-40BC-8F45-13352AF4A21C}" dt="2023-05-04T07:35:20.977" v="632" actId="1076"/>
          <ac:picMkLst>
            <pc:docMk/>
            <pc:sldMk cId="3917335309" sldId="2147469704"/>
            <ac:picMk id="18" creationId="{F7729618-1C37-443E-9EB3-651C6FDC6DA8}"/>
          </ac:picMkLst>
        </pc:picChg>
        <pc:picChg chg="mod ord">
          <ac:chgData name="Persoons, Mathias" userId="441499e7-dba7-4c31-965e-cd23754bcc13" providerId="ADAL" clId="{1426C7AD-FF65-40BC-8F45-13352AF4A21C}" dt="2023-05-04T07:35:16.699" v="631" actId="700"/>
          <ac:picMkLst>
            <pc:docMk/>
            <pc:sldMk cId="3917335309" sldId="2147469704"/>
            <ac:picMk id="33" creationId="{07CCA0D2-4880-4D9E-B20A-DC4D9488C432}"/>
          </ac:picMkLst>
        </pc:picChg>
        <pc:picChg chg="add del mod">
          <ac:chgData name="Persoons, Mathias" userId="441499e7-dba7-4c31-965e-cd23754bcc13" providerId="ADAL" clId="{1426C7AD-FF65-40BC-8F45-13352AF4A21C}" dt="2023-05-04T09:58:03.331" v="848" actId="1076"/>
          <ac:picMkLst>
            <pc:docMk/>
            <pc:sldMk cId="3917335309" sldId="2147469704"/>
            <ac:picMk id="1026" creationId="{78292BE7-F01E-4061-BB47-68DD33BF5E4A}"/>
          </ac:picMkLst>
        </pc:picChg>
      </pc:sldChg>
      <pc:sldChg chg="modSp new mod modTransition modAnim modNotesTx">
        <pc:chgData name="Persoons, Mathias" userId="441499e7-dba7-4c31-965e-cd23754bcc13" providerId="ADAL" clId="{1426C7AD-FF65-40BC-8F45-13352AF4A21C}" dt="2023-06-26T13:03:48.832" v="15177" actId="20577"/>
        <pc:sldMkLst>
          <pc:docMk/>
          <pc:sldMk cId="122054948" sldId="2147469705"/>
        </pc:sldMkLst>
        <pc:spChg chg="mod">
          <ac:chgData name="Persoons, Mathias" userId="441499e7-dba7-4c31-965e-cd23754bcc13" providerId="ADAL" clId="{1426C7AD-FF65-40BC-8F45-13352AF4A21C}" dt="2023-04-25T14:18:16.847" v="97" actId="20577"/>
          <ac:spMkLst>
            <pc:docMk/>
            <pc:sldMk cId="122054948" sldId="2147469705"/>
            <ac:spMk id="2" creationId="{1512FD47-EDA3-EF7C-B463-BF0E3FF6AA9E}"/>
          </ac:spMkLst>
        </pc:spChg>
        <pc:spChg chg="mod">
          <ac:chgData name="Persoons, Mathias" userId="441499e7-dba7-4c31-965e-cd23754bcc13" providerId="ADAL" clId="{1426C7AD-FF65-40BC-8F45-13352AF4A21C}" dt="2023-06-26T13:03:48.832" v="15177" actId="20577"/>
          <ac:spMkLst>
            <pc:docMk/>
            <pc:sldMk cId="122054948" sldId="2147469705"/>
            <ac:spMk id="3" creationId="{20614AF1-6E13-3505-F412-EB56413A5D6D}"/>
          </ac:spMkLst>
        </pc:spChg>
        <pc:spChg chg="mod">
          <ac:chgData name="Persoons, Mathias" userId="441499e7-dba7-4c31-965e-cd23754bcc13" providerId="ADAL" clId="{1426C7AD-FF65-40BC-8F45-13352AF4A21C}" dt="2023-06-14T13:48:50.701" v="2841" actId="114"/>
          <ac:spMkLst>
            <pc:docMk/>
            <pc:sldMk cId="122054948" sldId="2147469705"/>
            <ac:spMk id="14" creationId="{6ADBB1B8-7AC7-8F2C-0378-40BB43F445AD}"/>
          </ac:spMkLst>
        </pc:spChg>
        <pc:cxnChg chg="mod">
          <ac:chgData name="Persoons, Mathias" userId="441499e7-dba7-4c31-965e-cd23754bcc13" providerId="ADAL" clId="{1426C7AD-FF65-40BC-8F45-13352AF4A21C}" dt="2023-06-14T13:55:00.295" v="2842" actId="108"/>
          <ac:cxnSpMkLst>
            <pc:docMk/>
            <pc:sldMk cId="122054948" sldId="2147469705"/>
            <ac:cxnSpMk id="36" creationId="{DFAFBCE0-15F5-8C6A-1044-A555894C9BE3}"/>
          </ac:cxnSpMkLst>
        </pc:cxnChg>
        <pc:cxnChg chg="mod">
          <ac:chgData name="Persoons, Mathias" userId="441499e7-dba7-4c31-965e-cd23754bcc13" providerId="ADAL" clId="{1426C7AD-FF65-40BC-8F45-13352AF4A21C}" dt="2023-06-14T13:57:01.085" v="2843" actId="108"/>
          <ac:cxnSpMkLst>
            <pc:docMk/>
            <pc:sldMk cId="122054948" sldId="2147469705"/>
            <ac:cxnSpMk id="38" creationId="{2B12EABD-250A-4104-8F4E-EA919A9C8763}"/>
          </ac:cxnSpMkLst>
        </pc:cxnChg>
      </pc:sldChg>
      <pc:sldChg chg="addSp delSp modSp new mod modTransition modAnim modNotesTx">
        <pc:chgData name="Persoons, Mathias" userId="441499e7-dba7-4c31-965e-cd23754bcc13" providerId="ADAL" clId="{1426C7AD-FF65-40BC-8F45-13352AF4A21C}" dt="2023-06-25T08:11:40.996" v="9465" actId="20577"/>
        <pc:sldMkLst>
          <pc:docMk/>
          <pc:sldMk cId="1222490168" sldId="2147469706"/>
        </pc:sldMkLst>
        <pc:spChg chg="mod">
          <ac:chgData name="Persoons, Mathias" userId="441499e7-dba7-4c31-965e-cd23754bcc13" providerId="ADAL" clId="{1426C7AD-FF65-40BC-8F45-13352AF4A21C}" dt="2023-04-25T14:18:22.805" v="114" actId="20577"/>
          <ac:spMkLst>
            <pc:docMk/>
            <pc:sldMk cId="1222490168" sldId="2147469706"/>
            <ac:spMk id="2" creationId="{E5A89895-2646-1210-8E50-5B8906DB3CF1}"/>
          </ac:spMkLst>
        </pc:spChg>
        <pc:spChg chg="del mod">
          <ac:chgData name="Persoons, Mathias" userId="441499e7-dba7-4c31-965e-cd23754bcc13" providerId="ADAL" clId="{1426C7AD-FF65-40BC-8F45-13352AF4A21C}" dt="2023-06-20T09:15:29.362" v="3805" actId="478"/>
          <ac:spMkLst>
            <pc:docMk/>
            <pc:sldMk cId="1222490168" sldId="2147469706"/>
            <ac:spMk id="3" creationId="{5D4774FD-0289-7B9A-4B92-1FC6BD23DFA1}"/>
          </ac:spMkLst>
        </pc:spChg>
        <pc:picChg chg="del">
          <ac:chgData name="Persoons, Mathias" userId="441499e7-dba7-4c31-965e-cd23754bcc13" providerId="ADAL" clId="{1426C7AD-FF65-40BC-8F45-13352AF4A21C}" dt="2023-06-20T09:16:24.299" v="3806" actId="478"/>
          <ac:picMkLst>
            <pc:docMk/>
            <pc:sldMk cId="1222490168" sldId="2147469706"/>
            <ac:picMk id="5" creationId="{AC1A1228-F2D4-35C3-B1BD-EEAD09EFF86F}"/>
          </ac:picMkLst>
        </pc:picChg>
        <pc:picChg chg="add mod modCrop">
          <ac:chgData name="Persoons, Mathias" userId="441499e7-dba7-4c31-965e-cd23754bcc13" providerId="ADAL" clId="{1426C7AD-FF65-40BC-8F45-13352AF4A21C}" dt="2023-06-20T09:20:10.436" v="3942" actId="1076"/>
          <ac:picMkLst>
            <pc:docMk/>
            <pc:sldMk cId="1222490168" sldId="2147469706"/>
            <ac:picMk id="6" creationId="{92AD8820-31A2-423D-4D18-AEAC27F50250}"/>
          </ac:picMkLst>
        </pc:picChg>
        <pc:picChg chg="add del mod modCrop">
          <ac:chgData name="Persoons, Mathias" userId="441499e7-dba7-4c31-965e-cd23754bcc13" providerId="ADAL" clId="{1426C7AD-FF65-40BC-8F45-13352AF4A21C}" dt="2023-06-20T09:20:03.896" v="3940" actId="21"/>
          <ac:picMkLst>
            <pc:docMk/>
            <pc:sldMk cId="1222490168" sldId="2147469706"/>
            <ac:picMk id="8" creationId="{1222BE92-2722-7D22-B050-0C3B78298689}"/>
          </ac:picMkLst>
        </pc:picChg>
        <pc:picChg chg="add mod">
          <ac:chgData name="Persoons, Mathias" userId="441499e7-dba7-4c31-965e-cd23754bcc13" providerId="ADAL" clId="{1426C7AD-FF65-40BC-8F45-13352AF4A21C}" dt="2023-06-20T09:20:16.402" v="3944" actId="1076"/>
          <ac:picMkLst>
            <pc:docMk/>
            <pc:sldMk cId="1222490168" sldId="2147469706"/>
            <ac:picMk id="9" creationId="{87AB5955-AF12-2CC0-D48C-15319BF96FAE}"/>
          </ac:picMkLst>
        </pc:picChg>
        <pc:picChg chg="add del mod">
          <ac:chgData name="Persoons, Mathias" userId="441499e7-dba7-4c31-965e-cd23754bcc13" providerId="ADAL" clId="{1426C7AD-FF65-40BC-8F45-13352AF4A21C}" dt="2023-06-20T09:22:21.823" v="3950" actId="478"/>
          <ac:picMkLst>
            <pc:docMk/>
            <pc:sldMk cId="1222490168" sldId="2147469706"/>
            <ac:picMk id="11" creationId="{77FEA6DA-BB30-C551-0183-1DE9C744EF6F}"/>
          </ac:picMkLst>
        </pc:picChg>
        <pc:picChg chg="add mod">
          <ac:chgData name="Persoons, Mathias" userId="441499e7-dba7-4c31-965e-cd23754bcc13" providerId="ADAL" clId="{1426C7AD-FF65-40BC-8F45-13352AF4A21C}" dt="2023-06-20T09:23:03.096" v="3955" actId="14100"/>
          <ac:picMkLst>
            <pc:docMk/>
            <pc:sldMk cId="1222490168" sldId="2147469706"/>
            <ac:picMk id="13" creationId="{EDEBD480-C41A-5EDE-8B48-ABFC1136F5C9}"/>
          </ac:picMkLst>
        </pc:picChg>
      </pc:sldChg>
      <pc:sldChg chg="addSp modSp new mod ord modTransition modNotesTx">
        <pc:chgData name="Persoons, Mathias" userId="441499e7-dba7-4c31-965e-cd23754bcc13" providerId="ADAL" clId="{1426C7AD-FF65-40BC-8F45-13352AF4A21C}" dt="2023-06-25T07:25:44.360" v="8275"/>
        <pc:sldMkLst>
          <pc:docMk/>
          <pc:sldMk cId="1036238686" sldId="2147469707"/>
        </pc:sldMkLst>
        <pc:spChg chg="mod">
          <ac:chgData name="Persoons, Mathias" userId="441499e7-dba7-4c31-965e-cd23754bcc13" providerId="ADAL" clId="{1426C7AD-FF65-40BC-8F45-13352AF4A21C}" dt="2023-04-25T14:18:29.638" v="135" actId="20577"/>
          <ac:spMkLst>
            <pc:docMk/>
            <pc:sldMk cId="1036238686" sldId="2147469707"/>
            <ac:spMk id="2" creationId="{2ACF22AC-1F4D-5F26-CA7B-0189323F7696}"/>
          </ac:spMkLst>
        </pc:spChg>
        <pc:picChg chg="add mod">
          <ac:chgData name="Persoons, Mathias" userId="441499e7-dba7-4c31-965e-cd23754bcc13" providerId="ADAL" clId="{1426C7AD-FF65-40BC-8F45-13352AF4A21C}" dt="2023-05-04T09:00:13.261" v="817" actId="1076"/>
          <ac:picMkLst>
            <pc:docMk/>
            <pc:sldMk cId="1036238686" sldId="2147469707"/>
            <ac:picMk id="4" creationId="{5D3B2040-0340-93E8-1CFE-CE1444B32AC6}"/>
          </ac:picMkLst>
        </pc:picChg>
      </pc:sldChg>
      <pc:sldChg chg="modSp del mod">
        <pc:chgData name="Persoons, Mathias" userId="441499e7-dba7-4c31-965e-cd23754bcc13" providerId="ADAL" clId="{1426C7AD-FF65-40BC-8F45-13352AF4A21C}" dt="2023-05-08T09:43:29.484" v="929" actId="47"/>
        <pc:sldMkLst>
          <pc:docMk/>
          <pc:sldMk cId="1093541169" sldId="2147469708"/>
        </pc:sldMkLst>
        <pc:spChg chg="mod">
          <ac:chgData name="Persoons, Mathias" userId="441499e7-dba7-4c31-965e-cd23754bcc13" providerId="ADAL" clId="{1426C7AD-FF65-40BC-8F45-13352AF4A21C}" dt="2023-04-25T14:19:57.029" v="144" actId="20577"/>
          <ac:spMkLst>
            <pc:docMk/>
            <pc:sldMk cId="1093541169" sldId="2147469708"/>
            <ac:spMk id="2" creationId="{2ACF22AC-1F4D-5F26-CA7B-0189323F7696}"/>
          </ac:spMkLst>
        </pc:spChg>
      </pc:sldChg>
      <pc:sldChg chg="new del">
        <pc:chgData name="Persoons, Mathias" userId="441499e7-dba7-4c31-965e-cd23754bcc13" providerId="ADAL" clId="{1426C7AD-FF65-40BC-8F45-13352AF4A21C}" dt="2023-04-25T14:19:28.753" v="137" actId="680"/>
        <pc:sldMkLst>
          <pc:docMk/>
          <pc:sldMk cId="1413055921" sldId="2147469708"/>
        </pc:sldMkLst>
      </pc:sldChg>
      <pc:sldChg chg="new del">
        <pc:chgData name="Persoons, Mathias" userId="441499e7-dba7-4c31-965e-cd23754bcc13" providerId="ADAL" clId="{1426C7AD-FF65-40BC-8F45-13352AF4A21C}" dt="2023-04-25T14:19:47.677" v="139" actId="47"/>
        <pc:sldMkLst>
          <pc:docMk/>
          <pc:sldMk cId="3487027837" sldId="2147469708"/>
        </pc:sldMkLst>
      </pc:sldChg>
      <pc:sldChg chg="modSp add del mod ord">
        <pc:chgData name="Persoons, Mathias" userId="441499e7-dba7-4c31-965e-cd23754bcc13" providerId="ADAL" clId="{1426C7AD-FF65-40BC-8F45-13352AF4A21C}" dt="2023-05-08T07:03:34.988" v="851" actId="47"/>
        <pc:sldMkLst>
          <pc:docMk/>
          <pc:sldMk cId="2886844203" sldId="2147469709"/>
        </pc:sldMkLst>
        <pc:spChg chg="mod">
          <ac:chgData name="Persoons, Mathias" userId="441499e7-dba7-4c31-965e-cd23754bcc13" providerId="ADAL" clId="{1426C7AD-FF65-40BC-8F45-13352AF4A21C}" dt="2023-04-25T14:20:11.165" v="163" actId="20577"/>
          <ac:spMkLst>
            <pc:docMk/>
            <pc:sldMk cId="2886844203" sldId="2147469709"/>
            <ac:spMk id="2" creationId="{2ACF22AC-1F4D-5F26-CA7B-0189323F7696}"/>
          </ac:spMkLst>
        </pc:spChg>
      </pc:sldChg>
      <pc:sldChg chg="modSp new mod ord modTransition modNotesTx">
        <pc:chgData name="Persoons, Mathias" userId="441499e7-dba7-4c31-965e-cd23754bcc13" providerId="ADAL" clId="{1426C7AD-FF65-40BC-8F45-13352AF4A21C}" dt="2023-06-25T07:25:44.360" v="8275"/>
        <pc:sldMkLst>
          <pc:docMk/>
          <pc:sldMk cId="2092685173" sldId="2147469710"/>
        </pc:sldMkLst>
        <pc:spChg chg="mod">
          <ac:chgData name="Persoons, Mathias" userId="441499e7-dba7-4c31-965e-cd23754bcc13" providerId="ADAL" clId="{1426C7AD-FF65-40BC-8F45-13352AF4A21C}" dt="2023-04-25T14:20:42.206" v="178" actId="20577"/>
          <ac:spMkLst>
            <pc:docMk/>
            <pc:sldMk cId="2092685173" sldId="2147469710"/>
            <ac:spMk id="2" creationId="{7FB77D41-2FC5-7586-A518-0CF627A1C7CB}"/>
          </ac:spMkLst>
        </pc:spChg>
        <pc:graphicFrameChg chg="mod">
          <ac:chgData name="Persoons, Mathias" userId="441499e7-dba7-4c31-965e-cd23754bcc13" providerId="ADAL" clId="{1426C7AD-FF65-40BC-8F45-13352AF4A21C}" dt="2023-06-14T13:16:02.922" v="2806"/>
          <ac:graphicFrameMkLst>
            <pc:docMk/>
            <pc:sldMk cId="2092685173" sldId="2147469710"/>
            <ac:graphicFrameMk id="4" creationId="{0D471D94-06E8-C5D6-4338-7A5619AA5421}"/>
          </ac:graphicFrameMkLst>
        </pc:graphicFrameChg>
      </pc:sldChg>
      <pc:sldChg chg="modSp add mod">
        <pc:chgData name="Persoons, Mathias" userId="441499e7-dba7-4c31-965e-cd23754bcc13" providerId="ADAL" clId="{1426C7AD-FF65-40BC-8F45-13352AF4A21C}" dt="2023-04-25T14:21:18.432" v="265" actId="20577"/>
        <pc:sldMkLst>
          <pc:docMk/>
          <pc:sldMk cId="3688567070" sldId="2147469711"/>
        </pc:sldMkLst>
        <pc:spChg chg="mod">
          <ac:chgData name="Persoons, Mathias" userId="441499e7-dba7-4c31-965e-cd23754bcc13" providerId="ADAL" clId="{1426C7AD-FF65-40BC-8F45-13352AF4A21C}" dt="2023-04-25T14:21:11.305" v="230" actId="20577"/>
          <ac:spMkLst>
            <pc:docMk/>
            <pc:sldMk cId="3688567070" sldId="2147469711"/>
            <ac:spMk id="2" creationId="{2ACF22AC-1F4D-5F26-CA7B-0189323F7696}"/>
          </ac:spMkLst>
        </pc:spChg>
        <pc:spChg chg="mod">
          <ac:chgData name="Persoons, Mathias" userId="441499e7-dba7-4c31-965e-cd23754bcc13" providerId="ADAL" clId="{1426C7AD-FF65-40BC-8F45-13352AF4A21C}" dt="2023-04-25T14:21:18.432" v="265" actId="20577"/>
          <ac:spMkLst>
            <pc:docMk/>
            <pc:sldMk cId="3688567070" sldId="2147469711"/>
            <ac:spMk id="3" creationId="{AD9F4DA4-C22E-14F5-5852-B7DD02D8034C}"/>
          </ac:spMkLst>
        </pc:spChg>
      </pc:sldChg>
      <pc:sldChg chg="modSp new add del mod">
        <pc:chgData name="Persoons, Mathias" userId="441499e7-dba7-4c31-965e-cd23754bcc13" providerId="ADAL" clId="{1426C7AD-FF65-40BC-8F45-13352AF4A21C}" dt="2023-05-04T08:48:16.194" v="813" actId="47"/>
        <pc:sldMkLst>
          <pc:docMk/>
          <pc:sldMk cId="3009552807" sldId="2147469712"/>
        </pc:sldMkLst>
        <pc:spChg chg="mod">
          <ac:chgData name="Persoons, Mathias" userId="441499e7-dba7-4c31-965e-cd23754bcc13" providerId="ADAL" clId="{1426C7AD-FF65-40BC-8F45-13352AF4A21C}" dt="2023-04-25T14:21:56.245" v="333" actId="20577"/>
          <ac:spMkLst>
            <pc:docMk/>
            <pc:sldMk cId="3009552807" sldId="2147469712"/>
            <ac:spMk id="2" creationId="{F1ADA431-8F19-7099-F60E-3B61650F0215}"/>
          </ac:spMkLst>
        </pc:spChg>
      </pc:sldChg>
      <pc:sldChg chg="modSp new del mod">
        <pc:chgData name="Persoons, Mathias" userId="441499e7-dba7-4c31-965e-cd23754bcc13" providerId="ADAL" clId="{1426C7AD-FF65-40BC-8F45-13352AF4A21C}" dt="2023-05-08T07:03:37.900" v="852" actId="47"/>
        <pc:sldMkLst>
          <pc:docMk/>
          <pc:sldMk cId="3237031049" sldId="2147469713"/>
        </pc:sldMkLst>
        <pc:spChg chg="mod">
          <ac:chgData name="Persoons, Mathias" userId="441499e7-dba7-4c31-965e-cd23754bcc13" providerId="ADAL" clId="{1426C7AD-FF65-40BC-8F45-13352AF4A21C}" dt="2023-04-25T14:22:15.208" v="356" actId="20577"/>
          <ac:spMkLst>
            <pc:docMk/>
            <pc:sldMk cId="3237031049" sldId="2147469713"/>
            <ac:spMk id="2" creationId="{A7FAB7D4-79A8-6624-9904-568C786E1A67}"/>
          </ac:spMkLst>
        </pc:spChg>
        <pc:spChg chg="mod">
          <ac:chgData name="Persoons, Mathias" userId="441499e7-dba7-4c31-965e-cd23754bcc13" providerId="ADAL" clId="{1426C7AD-FF65-40BC-8F45-13352AF4A21C}" dt="2023-04-25T14:23:14.639" v="540" actId="20577"/>
          <ac:spMkLst>
            <pc:docMk/>
            <pc:sldMk cId="3237031049" sldId="2147469713"/>
            <ac:spMk id="3" creationId="{A0EBA4CC-558E-3ED6-0A47-270A0B1FC4B3}"/>
          </ac:spMkLst>
        </pc:spChg>
      </pc:sldChg>
      <pc:sldChg chg="modSp new del mod">
        <pc:chgData name="Persoons, Mathias" userId="441499e7-dba7-4c31-965e-cd23754bcc13" providerId="ADAL" clId="{1426C7AD-FF65-40BC-8F45-13352AF4A21C}" dt="2023-05-10T11:09:52.100" v="1028" actId="47"/>
        <pc:sldMkLst>
          <pc:docMk/>
          <pc:sldMk cId="2093261363" sldId="2147469714"/>
        </pc:sldMkLst>
        <pc:spChg chg="mod">
          <ac:chgData name="Persoons, Mathias" userId="441499e7-dba7-4c31-965e-cd23754bcc13" providerId="ADAL" clId="{1426C7AD-FF65-40BC-8F45-13352AF4A21C}" dt="2023-04-25T14:24:04.314" v="550" actId="20577"/>
          <ac:spMkLst>
            <pc:docMk/>
            <pc:sldMk cId="2093261363" sldId="2147469714"/>
            <ac:spMk id="2" creationId="{94955AB8-5DAD-03F8-322F-32B82EB5F57F}"/>
          </ac:spMkLst>
        </pc:spChg>
      </pc:sldChg>
      <pc:sldChg chg="modSp new mod">
        <pc:chgData name="Persoons, Mathias" userId="441499e7-dba7-4c31-965e-cd23754bcc13" providerId="ADAL" clId="{1426C7AD-FF65-40BC-8F45-13352AF4A21C}" dt="2023-04-25T14:24:16.599" v="567" actId="20577"/>
        <pc:sldMkLst>
          <pc:docMk/>
          <pc:sldMk cId="3283253043" sldId="2147469715"/>
        </pc:sldMkLst>
        <pc:spChg chg="mod">
          <ac:chgData name="Persoons, Mathias" userId="441499e7-dba7-4c31-965e-cd23754bcc13" providerId="ADAL" clId="{1426C7AD-FF65-40BC-8F45-13352AF4A21C}" dt="2023-04-25T14:24:16.599" v="567" actId="20577"/>
          <ac:spMkLst>
            <pc:docMk/>
            <pc:sldMk cId="3283253043" sldId="2147469715"/>
            <ac:spMk id="2" creationId="{B7BE8FA3-BBF0-447A-ECAE-5487A4F683B7}"/>
          </ac:spMkLst>
        </pc:spChg>
      </pc:sldChg>
      <pc:sldChg chg="addSp delSp modSp new mod ord delAnim">
        <pc:chgData name="Persoons, Mathias" userId="441499e7-dba7-4c31-965e-cd23754bcc13" providerId="ADAL" clId="{1426C7AD-FF65-40BC-8F45-13352AF4A21C}" dt="2023-05-10T11:11:47.719" v="1036" actId="207"/>
        <pc:sldMkLst>
          <pc:docMk/>
          <pc:sldMk cId="117660715" sldId="2147469716"/>
        </pc:sldMkLst>
        <pc:spChg chg="mod">
          <ac:chgData name="Persoons, Mathias" userId="441499e7-dba7-4c31-965e-cd23754bcc13" providerId="ADAL" clId="{1426C7AD-FF65-40BC-8F45-13352AF4A21C}" dt="2023-05-10T10:46:58.105" v="1027"/>
          <ac:spMkLst>
            <pc:docMk/>
            <pc:sldMk cId="117660715" sldId="2147469716"/>
            <ac:spMk id="2" creationId="{44235DE9-CC03-FCA2-9C53-BBFD66EF74E3}"/>
          </ac:spMkLst>
        </pc:spChg>
        <pc:spChg chg="mod">
          <ac:chgData name="Persoons, Mathias" userId="441499e7-dba7-4c31-965e-cd23754bcc13" providerId="ADAL" clId="{1426C7AD-FF65-40BC-8F45-13352AF4A21C}" dt="2023-05-10T10:46:54.980" v="1026" actId="21"/>
          <ac:spMkLst>
            <pc:docMk/>
            <pc:sldMk cId="117660715" sldId="2147469716"/>
            <ac:spMk id="3" creationId="{9B413A8F-E6BD-D712-9933-CC0C382D5DE4}"/>
          </ac:spMkLst>
        </pc:spChg>
        <pc:picChg chg="add mod">
          <ac:chgData name="Persoons, Mathias" userId="441499e7-dba7-4c31-965e-cd23754bcc13" providerId="ADAL" clId="{1426C7AD-FF65-40BC-8F45-13352AF4A21C}" dt="2023-05-10T11:11:47.719" v="1036" actId="207"/>
          <ac:picMkLst>
            <pc:docMk/>
            <pc:sldMk cId="117660715" sldId="2147469716"/>
            <ac:picMk id="3" creationId="{43F09907-19F1-E1EA-E8FF-67C4AD37A758}"/>
          </ac:picMkLst>
        </pc:picChg>
        <pc:picChg chg="del">
          <ac:chgData name="Persoons, Mathias" userId="441499e7-dba7-4c31-965e-cd23754bcc13" providerId="ADAL" clId="{1426C7AD-FF65-40BC-8F45-13352AF4A21C}" dt="2023-05-10T11:11:37.275" v="1034" actId="478"/>
          <ac:picMkLst>
            <pc:docMk/>
            <pc:sldMk cId="117660715" sldId="2147469716"/>
            <ac:picMk id="8" creationId="{2DD0A71C-D2AD-67A7-FE0F-E29BF2F67F7A}"/>
          </ac:picMkLst>
        </pc:picChg>
      </pc:sldChg>
      <pc:sldChg chg="modSp del modTransition modAnim modNotesTx">
        <pc:chgData name="Persoons, Mathias" userId="441499e7-dba7-4c31-965e-cd23754bcc13" providerId="ADAL" clId="{1426C7AD-FF65-40BC-8F45-13352AF4A21C}" dt="2023-06-25T14:13:43.630" v="14499" actId="47"/>
        <pc:sldMkLst>
          <pc:docMk/>
          <pc:sldMk cId="445985952" sldId="2147469717"/>
        </pc:sldMkLst>
        <pc:graphicFrameChg chg="mod">
          <ac:chgData name="Persoons, Mathias" userId="441499e7-dba7-4c31-965e-cd23754bcc13" providerId="ADAL" clId="{1426C7AD-FF65-40BC-8F45-13352AF4A21C}" dt="2023-06-25T13:41:46.879" v="14438" actId="478"/>
          <ac:graphicFrameMkLst>
            <pc:docMk/>
            <pc:sldMk cId="445985952" sldId="2147469717"/>
            <ac:graphicFrameMk id="6" creationId="{99A218E3-AD69-10F0-74A9-E22A05F2DD13}"/>
          </ac:graphicFrameMkLst>
        </pc:graphicFrameChg>
      </pc:sldChg>
      <pc:sldChg chg="new del">
        <pc:chgData name="Persoons, Mathias" userId="441499e7-dba7-4c31-965e-cd23754bcc13" providerId="ADAL" clId="{1426C7AD-FF65-40BC-8F45-13352AF4A21C}" dt="2023-05-04T07:32:38.446" v="617" actId="2696"/>
        <pc:sldMkLst>
          <pc:docMk/>
          <pc:sldMk cId="3608791716" sldId="2147469717"/>
        </pc:sldMkLst>
      </pc:sldChg>
      <pc:sldChg chg="addSp delSp modSp add del mod modTransition modClrScheme chgLayout">
        <pc:chgData name="Persoons, Mathias" userId="441499e7-dba7-4c31-965e-cd23754bcc13" providerId="ADAL" clId="{1426C7AD-FF65-40BC-8F45-13352AF4A21C}" dt="2023-05-04T07:33:11.432" v="629"/>
        <pc:sldMkLst>
          <pc:docMk/>
          <pc:sldMk cId="3982280888" sldId="2147469717"/>
        </pc:sldMkLst>
        <pc:spChg chg="add del mod">
          <ac:chgData name="Persoons, Mathias" userId="441499e7-dba7-4c31-965e-cd23754bcc13" providerId="ADAL" clId="{1426C7AD-FF65-40BC-8F45-13352AF4A21C}" dt="2023-05-04T07:33:09.402" v="627" actId="20577"/>
          <ac:spMkLst>
            <pc:docMk/>
            <pc:sldMk cId="3982280888" sldId="2147469717"/>
            <ac:spMk id="2" creationId="{2200C068-AC44-C14D-8BD6-9A22F59FD82C}"/>
          </ac:spMkLst>
        </pc:spChg>
        <pc:spChg chg="add del">
          <ac:chgData name="Persoons, Mathias" userId="441499e7-dba7-4c31-965e-cd23754bcc13" providerId="ADAL" clId="{1426C7AD-FF65-40BC-8F45-13352AF4A21C}" dt="2023-05-04T07:33:06.589" v="624" actId="26606"/>
          <ac:spMkLst>
            <pc:docMk/>
            <pc:sldMk cId="3982280888" sldId="2147469717"/>
            <ac:spMk id="3" creationId="{B89E3E44-B0BD-D433-B3DB-23674CB5DD02}"/>
          </ac:spMkLst>
        </pc:spChg>
        <pc:spChg chg="add del mod">
          <ac:chgData name="Persoons, Mathias" userId="441499e7-dba7-4c31-965e-cd23754bcc13" providerId="ADAL" clId="{1426C7AD-FF65-40BC-8F45-13352AF4A21C}" dt="2023-05-04T07:33:06.589" v="624" actId="26606"/>
          <ac:spMkLst>
            <pc:docMk/>
            <pc:sldMk cId="3982280888" sldId="2147469717"/>
            <ac:spMk id="9" creationId="{E267DF6A-1EBE-FA33-2862-E1BBDB52BDA8}"/>
          </ac:spMkLst>
        </pc:spChg>
        <pc:picChg chg="add del mod">
          <ac:chgData name="Persoons, Mathias" userId="441499e7-dba7-4c31-965e-cd23754bcc13" providerId="ADAL" clId="{1426C7AD-FF65-40BC-8F45-13352AF4A21C}" dt="2023-05-04T07:33:08.457" v="626"/>
          <ac:picMkLst>
            <pc:docMk/>
            <pc:sldMk cId="3982280888" sldId="2147469717"/>
            <ac:picMk id="4" creationId="{9083C9C9-4B50-2AC1-0498-7AAA252377D6}"/>
          </ac:picMkLst>
        </pc:picChg>
      </pc:sldChg>
      <pc:sldChg chg="addSp delSp modSp mod modTransition setBg modNotesTx">
        <pc:chgData name="Persoons, Mathias" userId="441499e7-dba7-4c31-965e-cd23754bcc13" providerId="ADAL" clId="{1426C7AD-FF65-40BC-8F45-13352AF4A21C}" dt="2023-06-25T07:25:44.360" v="8275"/>
        <pc:sldMkLst>
          <pc:docMk/>
          <pc:sldMk cId="1301564698" sldId="2147469718"/>
        </pc:sldMkLst>
        <pc:spChg chg="mod">
          <ac:chgData name="Persoons, Mathias" userId="441499e7-dba7-4c31-965e-cd23754bcc13" providerId="ADAL" clId="{1426C7AD-FF65-40BC-8F45-13352AF4A21C}" dt="2023-05-08T09:26:41.566" v="863" actId="26606"/>
          <ac:spMkLst>
            <pc:docMk/>
            <pc:sldMk cId="1301564698" sldId="2147469718"/>
            <ac:spMk id="5" creationId="{D3AA741D-95BA-0BE9-811D-DAA9EF262A23}"/>
          </ac:spMkLst>
        </pc:spChg>
        <pc:spChg chg="mod">
          <ac:chgData name="Persoons, Mathias" userId="441499e7-dba7-4c31-965e-cd23754bcc13" providerId="ADAL" clId="{1426C7AD-FF65-40BC-8F45-13352AF4A21C}" dt="2023-05-08T09:26:41.566" v="863" actId="26606"/>
          <ac:spMkLst>
            <pc:docMk/>
            <pc:sldMk cId="1301564698" sldId="2147469718"/>
            <ac:spMk id="6" creationId="{C8C99135-7583-2EC8-A6D0-3A2524BB7F87}"/>
          </ac:spMkLst>
        </pc:spChg>
        <pc:spChg chg="add del">
          <ac:chgData name="Persoons, Mathias" userId="441499e7-dba7-4c31-965e-cd23754bcc13" providerId="ADAL" clId="{1426C7AD-FF65-40BC-8F45-13352AF4A21C}" dt="2023-05-08T09:26:30.882" v="859" actId="26606"/>
          <ac:spMkLst>
            <pc:docMk/>
            <pc:sldMk cId="1301564698" sldId="2147469718"/>
            <ac:spMk id="11" creationId="{04812C46-200A-4DEB-A05E-3ED6C68C2387}"/>
          </ac:spMkLst>
        </pc:spChg>
        <pc:spChg chg="add del">
          <ac:chgData name="Persoons, Mathias" userId="441499e7-dba7-4c31-965e-cd23754bcc13" providerId="ADAL" clId="{1426C7AD-FF65-40BC-8F45-13352AF4A21C}" dt="2023-05-08T09:26:30.882" v="859" actId="26606"/>
          <ac:spMkLst>
            <pc:docMk/>
            <pc:sldMk cId="1301564698" sldId="2147469718"/>
            <ac:spMk id="13" creationId="{D1EA859B-E555-4109-94F3-6700E046E008}"/>
          </ac:spMkLst>
        </pc:spChg>
        <pc:spChg chg="add del">
          <ac:chgData name="Persoons, Mathias" userId="441499e7-dba7-4c31-965e-cd23754bcc13" providerId="ADAL" clId="{1426C7AD-FF65-40BC-8F45-13352AF4A21C}" dt="2023-05-08T09:26:32.703" v="861" actId="26606"/>
          <ac:spMkLst>
            <pc:docMk/>
            <pc:sldMk cId="1301564698" sldId="2147469718"/>
            <ac:spMk id="15" creationId="{F13C74B1-5B17-4795-BED0-7140497B445A}"/>
          </ac:spMkLst>
        </pc:spChg>
        <pc:spChg chg="add del">
          <ac:chgData name="Persoons, Mathias" userId="441499e7-dba7-4c31-965e-cd23754bcc13" providerId="ADAL" clId="{1426C7AD-FF65-40BC-8F45-13352AF4A21C}" dt="2023-05-08T09:26:32.703" v="861" actId="26606"/>
          <ac:spMkLst>
            <pc:docMk/>
            <pc:sldMk cId="1301564698" sldId="2147469718"/>
            <ac:spMk id="16" creationId="{D4974D33-8DC5-464E-8C6D-BE58F0669C17}"/>
          </ac:spMkLst>
        </pc:spChg>
        <pc:spChg chg="add del">
          <ac:chgData name="Persoons, Mathias" userId="441499e7-dba7-4c31-965e-cd23754bcc13" providerId="ADAL" clId="{1426C7AD-FF65-40BC-8F45-13352AF4A21C}" dt="2023-05-08T09:26:41.566" v="863" actId="26606"/>
          <ac:spMkLst>
            <pc:docMk/>
            <pc:sldMk cId="1301564698" sldId="2147469718"/>
            <ac:spMk id="18" creationId="{04812C46-200A-4DEB-A05E-3ED6C68C2387}"/>
          </ac:spMkLst>
        </pc:spChg>
        <pc:spChg chg="add del">
          <ac:chgData name="Persoons, Mathias" userId="441499e7-dba7-4c31-965e-cd23754bcc13" providerId="ADAL" clId="{1426C7AD-FF65-40BC-8F45-13352AF4A21C}" dt="2023-05-08T09:26:41.566" v="863" actId="26606"/>
          <ac:spMkLst>
            <pc:docMk/>
            <pc:sldMk cId="1301564698" sldId="2147469718"/>
            <ac:spMk id="19" creationId="{D1EA859B-E555-4109-94F3-6700E046E008}"/>
          </ac:spMkLst>
        </pc:spChg>
        <pc:picChg chg="add mod ord modCrop">
          <ac:chgData name="Persoons, Mathias" userId="441499e7-dba7-4c31-965e-cd23754bcc13" providerId="ADAL" clId="{1426C7AD-FF65-40BC-8F45-13352AF4A21C}" dt="2023-05-10T11:31:44.762" v="1063" actId="1076"/>
          <ac:picMkLst>
            <pc:docMk/>
            <pc:sldMk cId="1301564698" sldId="2147469718"/>
            <ac:picMk id="3" creationId="{6AEB16DA-747D-F49D-C87A-698EB9692E49}"/>
          </ac:picMkLst>
        </pc:picChg>
      </pc:sldChg>
      <pc:sldChg chg="addSp delSp modSp mod modNotesTx">
        <pc:chgData name="Persoons, Mathias" userId="441499e7-dba7-4c31-965e-cd23754bcc13" providerId="ADAL" clId="{1426C7AD-FF65-40BC-8F45-13352AF4A21C}" dt="2023-05-24T11:41:59.258" v="1401" actId="20577"/>
        <pc:sldMkLst>
          <pc:docMk/>
          <pc:sldMk cId="2800368159" sldId="2147469719"/>
        </pc:sldMkLst>
        <pc:spChg chg="mod">
          <ac:chgData name="Persoons, Mathias" userId="441499e7-dba7-4c31-965e-cd23754bcc13" providerId="ADAL" clId="{1426C7AD-FF65-40BC-8F45-13352AF4A21C}" dt="2023-05-17T11:10:28.745" v="1208" actId="1076"/>
          <ac:spMkLst>
            <pc:docMk/>
            <pc:sldMk cId="2800368159" sldId="2147469719"/>
            <ac:spMk id="3" creationId="{B0BDE5F6-4FBF-94C5-219D-BDBBCF051956}"/>
          </ac:spMkLst>
        </pc:spChg>
        <pc:spChg chg="mod">
          <ac:chgData name="Persoons, Mathias" userId="441499e7-dba7-4c31-965e-cd23754bcc13" providerId="ADAL" clId="{1426C7AD-FF65-40BC-8F45-13352AF4A21C}" dt="2023-05-17T11:10:18.953" v="1207" actId="1076"/>
          <ac:spMkLst>
            <pc:docMk/>
            <pc:sldMk cId="2800368159" sldId="2147469719"/>
            <ac:spMk id="4" creationId="{E974EAF7-5167-B2D4-E0D3-3BE28586940B}"/>
          </ac:spMkLst>
        </pc:spChg>
        <pc:picChg chg="add mod">
          <ac:chgData name="Persoons, Mathias" userId="441499e7-dba7-4c31-965e-cd23754bcc13" providerId="ADAL" clId="{1426C7AD-FF65-40BC-8F45-13352AF4A21C}" dt="2023-05-17T11:09:50.235" v="1203" actId="14100"/>
          <ac:picMkLst>
            <pc:docMk/>
            <pc:sldMk cId="2800368159" sldId="2147469719"/>
            <ac:picMk id="5" creationId="{30243FF1-2C1C-6E60-C47D-7DDA00CE36B0}"/>
          </ac:picMkLst>
        </pc:picChg>
        <pc:picChg chg="mod">
          <ac:chgData name="Persoons, Mathias" userId="441499e7-dba7-4c31-965e-cd23754bcc13" providerId="ADAL" clId="{1426C7AD-FF65-40BC-8F45-13352AF4A21C}" dt="2023-05-17T11:10:32.383" v="1209" actId="1076"/>
          <ac:picMkLst>
            <pc:docMk/>
            <pc:sldMk cId="2800368159" sldId="2147469719"/>
            <ac:picMk id="8" creationId="{06C315CF-DAC4-AE6D-BBD7-FBD040826A36}"/>
          </ac:picMkLst>
        </pc:picChg>
        <pc:picChg chg="del">
          <ac:chgData name="Persoons, Mathias" userId="441499e7-dba7-4c31-965e-cd23754bcc13" providerId="ADAL" clId="{1426C7AD-FF65-40BC-8F45-13352AF4A21C}" dt="2023-05-17T11:09:17.963" v="1200" actId="478"/>
          <ac:picMkLst>
            <pc:docMk/>
            <pc:sldMk cId="2800368159" sldId="2147469719"/>
            <ac:picMk id="11" creationId="{28699699-4450-6227-855A-FB41027C0D90}"/>
          </ac:picMkLst>
        </pc:picChg>
      </pc:sldChg>
      <pc:sldChg chg="addSp delSp modSp add mod modTransition modAnim addCm delCm modNotesTx">
        <pc:chgData name="Persoons, Mathias" userId="441499e7-dba7-4c31-965e-cd23754bcc13" providerId="ADAL" clId="{1426C7AD-FF65-40BC-8F45-13352AF4A21C}" dt="2023-06-26T08:31:53.049" v="14894" actId="20577"/>
        <pc:sldMkLst>
          <pc:docMk/>
          <pc:sldMk cId="1955021214" sldId="2147469720"/>
        </pc:sldMkLst>
        <pc:spChg chg="mod">
          <ac:chgData name="Persoons, Mathias" userId="441499e7-dba7-4c31-965e-cd23754bcc13" providerId="ADAL" clId="{1426C7AD-FF65-40BC-8F45-13352AF4A21C}" dt="2023-06-02T12:22:23.716" v="1716" actId="20577"/>
          <ac:spMkLst>
            <pc:docMk/>
            <pc:sldMk cId="1955021214" sldId="2147469720"/>
            <ac:spMk id="2" creationId="{0696D550-AA1E-19CB-F8FC-4550598E91F5}"/>
          </ac:spMkLst>
        </pc:spChg>
        <pc:spChg chg="mod">
          <ac:chgData name="Persoons, Mathias" userId="441499e7-dba7-4c31-965e-cd23754bcc13" providerId="ADAL" clId="{1426C7AD-FF65-40BC-8F45-13352AF4A21C}" dt="2023-06-26T08:31:53.049" v="14894" actId="20577"/>
          <ac:spMkLst>
            <pc:docMk/>
            <pc:sldMk cId="1955021214" sldId="2147469720"/>
            <ac:spMk id="3" creationId="{D7F7C231-56A6-D294-54B1-C61690C8C16C}"/>
          </ac:spMkLst>
        </pc:spChg>
        <pc:picChg chg="add mod modCrop">
          <ac:chgData name="Persoons, Mathias" userId="441499e7-dba7-4c31-965e-cd23754bcc13" providerId="ADAL" clId="{1426C7AD-FF65-40BC-8F45-13352AF4A21C}" dt="2023-06-20T14:00:41.675" v="6878" actId="18131"/>
          <ac:picMkLst>
            <pc:docMk/>
            <pc:sldMk cId="1955021214" sldId="2147469720"/>
            <ac:picMk id="4" creationId="{3833789D-5059-2DE9-CC52-B008B1B5B360}"/>
          </ac:picMkLst>
        </pc:picChg>
        <pc:picChg chg="del mod">
          <ac:chgData name="Persoons, Mathias" userId="441499e7-dba7-4c31-965e-cd23754bcc13" providerId="ADAL" clId="{1426C7AD-FF65-40BC-8F45-13352AF4A21C}" dt="2023-06-20T14:00:29.763" v="6876" actId="21"/>
          <ac:picMkLst>
            <pc:docMk/>
            <pc:sldMk cId="1955021214" sldId="2147469720"/>
            <ac:picMk id="5" creationId="{56F352E2-E861-9476-85AB-6FF06BB69960}"/>
          </ac:picMkLst>
        </pc:picChg>
      </pc:sldChg>
      <pc:sldChg chg="delSp modSp mod modTransition modAnim addCm delCm modNotesTx">
        <pc:chgData name="Persoons, Mathias" userId="441499e7-dba7-4c31-965e-cd23754bcc13" providerId="ADAL" clId="{1426C7AD-FF65-40BC-8F45-13352AF4A21C}" dt="2023-06-26T08:33:49.459" v="14895"/>
        <pc:sldMkLst>
          <pc:docMk/>
          <pc:sldMk cId="2878625570" sldId="2147469721"/>
        </pc:sldMkLst>
        <pc:spChg chg="mod">
          <ac:chgData name="Persoons, Mathias" userId="441499e7-dba7-4c31-965e-cd23754bcc13" providerId="ADAL" clId="{1426C7AD-FF65-40BC-8F45-13352AF4A21C}" dt="2023-06-25T12:56:36.217" v="14428" actId="20577"/>
          <ac:spMkLst>
            <pc:docMk/>
            <pc:sldMk cId="2878625570" sldId="2147469721"/>
            <ac:spMk id="3" creationId="{0EA61B43-77F0-1787-47CC-3566AF2DA56C}"/>
          </ac:spMkLst>
        </pc:spChg>
        <pc:picChg chg="del">
          <ac:chgData name="Persoons, Mathias" userId="441499e7-dba7-4c31-965e-cd23754bcc13" providerId="ADAL" clId="{1426C7AD-FF65-40BC-8F45-13352AF4A21C}" dt="2023-05-08T09:43:16.156" v="928" actId="478"/>
          <ac:picMkLst>
            <pc:docMk/>
            <pc:sldMk cId="2878625570" sldId="2147469721"/>
            <ac:picMk id="5" creationId="{CE2B8247-1B65-C7EE-9378-FBFFEC886357}"/>
          </ac:picMkLst>
        </pc:picChg>
      </pc:sldChg>
      <pc:sldChg chg="new add del">
        <pc:chgData name="Persoons, Mathias" userId="441499e7-dba7-4c31-965e-cd23754bcc13" providerId="ADAL" clId="{1426C7AD-FF65-40BC-8F45-13352AF4A21C}" dt="2023-05-04T12:06:00.435" v="850" actId="47"/>
        <pc:sldMkLst>
          <pc:docMk/>
          <pc:sldMk cId="1203019189" sldId="2147469722"/>
        </pc:sldMkLst>
      </pc:sldChg>
      <pc:sldChg chg="add del mod modShow">
        <pc:chgData name="Persoons, Mathias" userId="441499e7-dba7-4c31-965e-cd23754bcc13" providerId="ADAL" clId="{1426C7AD-FF65-40BC-8F45-13352AF4A21C}" dt="2023-06-02T08:33:46.432" v="1462" actId="47"/>
        <pc:sldMkLst>
          <pc:docMk/>
          <pc:sldMk cId="572578815" sldId="2147469723"/>
        </pc:sldMkLst>
      </pc:sldChg>
      <pc:sldChg chg="modSp add del mod">
        <pc:chgData name="Persoons, Mathias" userId="441499e7-dba7-4c31-965e-cd23754bcc13" providerId="ADAL" clId="{1426C7AD-FF65-40BC-8F45-13352AF4A21C}" dt="2023-05-08T14:08:29.199" v="931" actId="47"/>
        <pc:sldMkLst>
          <pc:docMk/>
          <pc:sldMk cId="3787222009" sldId="2147469730"/>
        </pc:sldMkLst>
        <pc:grpChg chg="mod">
          <ac:chgData name="Persoons, Mathias" userId="441499e7-dba7-4c31-965e-cd23754bcc13" providerId="ADAL" clId="{1426C7AD-FF65-40BC-8F45-13352AF4A21C}" dt="2023-05-08T09:28:57.710" v="872" actId="1076"/>
          <ac:grpSpMkLst>
            <pc:docMk/>
            <pc:sldMk cId="3787222009" sldId="2147469730"/>
            <ac:grpSpMk id="8" creationId="{AE097822-E246-FFF3-5BEB-002C368613F8}"/>
          </ac:grpSpMkLst>
        </pc:grpChg>
      </pc:sldChg>
      <pc:sldChg chg="addSp delSp modSp add mod modTransition setBg modClrScheme delAnim modAnim chgLayout modNotesTx">
        <pc:chgData name="Persoons, Mathias" userId="441499e7-dba7-4c31-965e-cd23754bcc13" providerId="ADAL" clId="{1426C7AD-FF65-40BC-8F45-13352AF4A21C}" dt="2023-06-25T07:52:03.744" v="9021" actId="20577"/>
        <pc:sldMkLst>
          <pc:docMk/>
          <pc:sldMk cId="3486044391" sldId="2147469731"/>
        </pc:sldMkLst>
        <pc:spChg chg="mod">
          <ac:chgData name="Persoons, Mathias" userId="441499e7-dba7-4c31-965e-cd23754bcc13" providerId="ADAL" clId="{1426C7AD-FF65-40BC-8F45-13352AF4A21C}" dt="2023-05-17T11:10:07.911" v="1206" actId="1076"/>
          <ac:spMkLst>
            <pc:docMk/>
            <pc:sldMk cId="3486044391" sldId="2147469731"/>
            <ac:spMk id="3" creationId="{F3A6EB3F-90EB-D701-8B69-627704380B77}"/>
          </ac:spMkLst>
        </pc:spChg>
        <pc:spChg chg="del">
          <ac:chgData name="Persoons, Mathias" userId="441499e7-dba7-4c31-965e-cd23754bcc13" providerId="ADAL" clId="{1426C7AD-FF65-40BC-8F45-13352AF4A21C}" dt="2023-06-20T08:38:49.736" v="3467" actId="478"/>
          <ac:spMkLst>
            <pc:docMk/>
            <pc:sldMk cId="3486044391" sldId="2147469731"/>
            <ac:spMk id="4" creationId="{BB3827F7-20DC-7627-2CA8-EA3477EC677A}"/>
          </ac:spMkLst>
        </pc:spChg>
        <pc:spChg chg="add mod">
          <ac:chgData name="Persoons, Mathias" userId="441499e7-dba7-4c31-965e-cd23754bcc13" providerId="ADAL" clId="{1426C7AD-FF65-40BC-8F45-13352AF4A21C}" dt="2023-05-08T14:19:06.483" v="992" actId="571"/>
          <ac:spMkLst>
            <pc:docMk/>
            <pc:sldMk cId="3486044391" sldId="2147469731"/>
            <ac:spMk id="13" creationId="{1E94FA62-8859-EB1E-39A8-631E2DDE445B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5" creationId="{F9385164-6FA0-B856-3DE1-5156655FA431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6" creationId="{26217602-D84F-8FD9-FB31-A755B81DAB46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22" creationId="{53350AB0-40C0-7039-65DA-E082C17C0191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23" creationId="{60F32EAF-2B5B-5918-6B83-D19DDF5013F9}"/>
          </ac:spMkLst>
        </pc:spChg>
        <pc:spChg chg="mod or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24" creationId="{2E90FCD5-CEC1-7A75-DD3F-48D241099AC5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25" creationId="{68F4DA65-B14C-04FD-140B-27896CE95315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26" creationId="{823CA6E6-B893-3050-DC93-B45CF3790E18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28" creationId="{D08760B6-CA98-9E96-B127-8E252DD61A8C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29" creationId="{7973A510-1EE3-E725-1548-18BA7A5FF098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0" creationId="{89015A89-AED7-A786-9B2F-4A422A15B14F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1" creationId="{2C8BB561-8F9C-22FA-2987-0C617CBB0796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2" creationId="{31F5E872-04DB-336E-646D-3F76447D6021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3" creationId="{0705F4CC-1841-2112-58D0-0B5744A4EBD6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4" creationId="{7C8C5E2A-2E50-7CDC-2156-A984E312A4BD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5" creationId="{560169B2-7B4C-36A9-78C1-CC59C0C2AD0C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6" creationId="{BC868A05-CD53-610A-EDFB-2C30F7A71472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7" creationId="{C9A92B40-4AB3-CA72-1F06-ACF2C2A6C86B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8" creationId="{3C55B108-D2F2-5F6E-B998-E2A832C17FBF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39" creationId="{50036F7B-1BDF-7455-9F97-4583C6A0B490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0" creationId="{66A81159-6A5A-3CCD-FC9C-BB328B595FEF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2" creationId="{50148A32-EA07-1050-C6AF-C3B7FD7993BB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3" creationId="{7E88E5F0-0107-BB07-4A48-2CC98140AEE5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4" creationId="{161D26A0-E276-029A-8778-6AAD4BC009C0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5" creationId="{7972722F-282C-B3F1-C709-7E74D183209C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6" creationId="{51376942-20BB-91A3-9EA1-B07B3DFAC034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7" creationId="{9A01F9E1-5C64-E12A-138E-7FD76AF68223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8" creationId="{E80561BC-E5AD-D424-168D-FEAF793E7DE4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49" creationId="{A8148F24-14DC-FB1A-6308-FEFC1FC73EB4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50" creationId="{3418C538-D72B-5DCF-1754-D337AEB7E0BC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51" creationId="{783402E2-BA82-690F-8189-3854C0550F73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52" creationId="{7891413C-50BB-8424-DDF6-D20E72332E53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53" creationId="{4BEB5A5C-ED3A-EC4B-7195-44F6C5CEC3DC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54" creationId="{B94219B1-7BFE-4EF2-803B-5E2F9A4B6318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55" creationId="{684C8879-3167-F48F-22D7-1B412AD2108C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56" creationId="{B5744E1D-E6D7-A633-862F-A699FD40BDDE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57" creationId="{72B1E27E-3855-1C97-66DA-C9B51F8D4046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58" creationId="{6709AFB7-2D9A-0D6F-2BE1-E3F36FD8A230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59" creationId="{BBA1AB3D-9BBF-F66D-35A6-00BF594BFBAB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60" creationId="{2836056A-170F-318E-EFF2-3CA744912E8B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61" creationId="{D6A29478-6DE6-E554-8CA8-A175B7F699FE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62" creationId="{2C5A85D1-8BCC-1910-D72F-1103821DE40E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63" creationId="{76C25011-049C-7E1C-FCCB-D1F5F38209E0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64" creationId="{672D01E3-F0FD-817F-7ECD-B2255C091BA4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65" creationId="{74B47718-8935-2E90-E0A7-CF31C0811F6C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66" creationId="{FEC71D45-28EB-A5BD-172D-712CB44A64C4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67" creationId="{9FE406C1-B00A-6151-AA40-5E3C17DB2786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68" creationId="{FCC20364-3DCD-9945-7323-F4BAB33BCE88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69" creationId="{3FA19D36-8EC5-A022-168F-DE521C8BAA3E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70" creationId="{01E61E79-24E7-C1D8-298D-24C888F13736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2" creationId="{5F8B988D-8797-EFBE-9322-3BCA01AFE2ED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3" creationId="{ACF4680C-2DB8-BDA0-D386-8C036FCFB957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4" creationId="{16669697-360D-EE2D-3D65-77378409DC48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5" creationId="{D6B8AC79-6BD1-B153-CD68-A2949BF0E706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6" creationId="{74CCDA16-CB60-F217-F293-9FC8CACDFD37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7" creationId="{12CFBE44-E94D-A564-318C-C1DFC40D36C3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8" creationId="{16398CD6-9E02-D848-74F6-A3935626869D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79" creationId="{94C487EA-526E-68BB-5444-5F145A286C01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0" creationId="{894ECF10-F450-D786-27FA-8F887BD0BA47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1" creationId="{A4D9DD7D-99A1-C45B-E943-DFABBAF891CA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2" creationId="{29C7E322-E5B3-BB8D-D608-D43F86A1A51F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3" creationId="{81CC728C-01B2-6BDB-6811-A94257B38362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4" creationId="{544BDE5C-8A37-9B1E-AD0C-CD2FA367DD9B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5" creationId="{CDBC5713-364F-25BB-C705-AC720944BF40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6" creationId="{43BAB81A-B333-147A-DF85-885A39AAB1B6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7" creationId="{C23AD505-C2A2-B6AC-826E-7F6583C79CF4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8" creationId="{27438539-4205-7590-260F-5ADEDB5DDBE7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89" creationId="{BFFC8A8B-5699-5E89-4D01-A2850570D1A5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0" creationId="{52997063-0D9C-781A-98A7-1641382C5172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1" creationId="{4450837C-92B2-A47A-A476-55317134A07D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92" creationId="{77FF65AE-7DA0-A34E-1F4F-87B752FDCEA6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3" creationId="{70731501-2C76-E374-21CD-876F16355225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94" creationId="{61DFB055-E553-1433-651E-8815CEFBD05F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5" creationId="{3F2F6FF4-8AE9-2307-B118-585A51BBDC27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6" creationId="{A117ADF3-894E-4D2F-C254-C6C05949300B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7" creationId="{83BA5B8D-EB43-6FB6-096C-3A2B4A1FFC41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8" creationId="{0B800787-22D0-EA49-F104-E90E96565E1E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99" creationId="{DAE88A85-AD15-BA81-6E29-3B8FFDE78611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00" creationId="{43DA65C5-90AF-6FB6-F57E-0CDA886B0661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01" creationId="{9CB402CC-F090-1F2D-493B-41B90B86CB67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02" creationId="{81A97420-13A7-9BB9-116C-1B4F899AFF90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03" creationId="{2E2E6F6B-268D-8317-ED49-C09490C4CA18}"/>
          </ac:spMkLst>
        </pc:spChg>
        <pc:spChg chg="mod topLvl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04" creationId="{CE0A05C2-C1B9-B337-2FD5-6FC3DBB8319F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05" creationId="{3D05B666-DE76-7230-3162-C1CE8031FA6B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06" creationId="{82B3669B-9240-1964-BA22-85C06D33B4C1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08" creationId="{6D9B8F5D-E108-0D8E-0F28-263871DCDE63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09" creationId="{8B34CC90-B871-15DA-C00E-FAA1114F65C9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0" creationId="{E9ECC2D2-FD38-6BD5-49E2-1D758A758946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2" creationId="{C796850D-35FD-10B6-22FB-BC3E4314016C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3" creationId="{436F0E3B-8CEF-9B3B-2C9F-01B639FC3373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4" creationId="{26BC12CB-FB26-8FB2-A883-7D8A0A5AAAB1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5" creationId="{6854C654-C08C-88D6-BC2B-11DC9ABA1A4D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6" creationId="{06577DF7-5834-2889-ED5C-EFBEBA9D1759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17" creationId="{F704D903-F037-93A4-E1FA-9D9C6D669247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8" creationId="{E10DA0B8-42FC-9B71-FC99-96FF0D8C3A3B}"/>
          </ac:spMkLst>
        </pc:spChg>
        <pc:spChg chg="mod">
          <ac:chgData name="Persoons, Mathias" userId="441499e7-dba7-4c31-965e-cd23754bcc13" providerId="ADAL" clId="{1426C7AD-FF65-40BC-8F45-13352AF4A21C}" dt="2023-05-10T12:23:27.908" v="1081"/>
          <ac:spMkLst>
            <pc:docMk/>
            <pc:sldMk cId="3486044391" sldId="2147469731"/>
            <ac:spMk id="119" creationId="{98CFC9FE-C26A-2304-BC7A-7B2DC4A41764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21" creationId="{5B04C98B-E666-63A5-0EE2-C9E6B38E2870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22" creationId="{505D0514-811D-6DF0-9F03-DCC6A5024FE0}"/>
          </ac:spMkLst>
        </pc:spChg>
        <pc:spChg chg="mod">
          <ac:chgData name="Persoons, Mathias" userId="441499e7-dba7-4c31-965e-cd23754bcc13" providerId="ADAL" clId="{1426C7AD-FF65-40BC-8F45-13352AF4A21C}" dt="2023-05-08T14:27:02.920" v="1012" actId="165"/>
          <ac:spMkLst>
            <pc:docMk/>
            <pc:sldMk cId="3486044391" sldId="2147469731"/>
            <ac:spMk id="123" creationId="{C4CFA8DB-F192-F623-4705-8E8E310F7885}"/>
          </ac:spMkLst>
        </pc:spChg>
        <pc:spChg chg="del">
          <ac:chgData name="Persoons, Mathias" userId="441499e7-dba7-4c31-965e-cd23754bcc13" providerId="ADAL" clId="{1426C7AD-FF65-40BC-8F45-13352AF4A21C}" dt="2023-05-17T10:48:36.207" v="1094" actId="478"/>
          <ac:spMkLst>
            <pc:docMk/>
            <pc:sldMk cId="3486044391" sldId="2147469731"/>
            <ac:spMk id="124" creationId="{3FE9C9D1-C095-C375-6956-10DEC5FD48FE}"/>
          </ac:spMkLst>
        </pc:spChg>
        <pc:spChg chg="del">
          <ac:chgData name="Persoons, Mathias" userId="441499e7-dba7-4c31-965e-cd23754bcc13" providerId="ADAL" clId="{1426C7AD-FF65-40BC-8F45-13352AF4A21C}" dt="2023-05-17T10:48:34.295" v="1093" actId="478"/>
          <ac:spMkLst>
            <pc:docMk/>
            <pc:sldMk cId="3486044391" sldId="2147469731"/>
            <ac:spMk id="125" creationId="{1B785425-0824-43A4-53B0-44617359A82D}"/>
          </ac:spMkLst>
        </pc:spChg>
        <pc:spChg chg="add del mod">
          <ac:chgData name="Persoons, Mathias" userId="441499e7-dba7-4c31-965e-cd23754bcc13" providerId="ADAL" clId="{1426C7AD-FF65-40BC-8F45-13352AF4A21C}" dt="2023-05-17T10:48:52.320" v="1099" actId="26606"/>
          <ac:spMkLst>
            <pc:docMk/>
            <pc:sldMk cId="3486044391" sldId="2147469731"/>
            <ac:spMk id="126" creationId="{C94A6B9A-CDF4-C9FF-93C7-C1A3213F8A39}"/>
          </ac:spMkLst>
        </pc:spChg>
        <pc:grpChg chg="add del mod">
          <ac:chgData name="Persoons, Mathias" userId="441499e7-dba7-4c31-965e-cd23754bcc13" providerId="ADAL" clId="{1426C7AD-FF65-40BC-8F45-13352AF4A21C}" dt="2023-05-08T14:16:49.482" v="958" actId="165"/>
          <ac:grpSpMkLst>
            <pc:docMk/>
            <pc:sldMk cId="3486044391" sldId="2147469731"/>
            <ac:grpSpMk id="2" creationId="{E12B5EE9-1B45-77C3-FD71-4160E3ABE58C}"/>
          </ac:grpSpMkLst>
        </pc:grpChg>
        <pc:grpChg chg="add mod">
          <ac:chgData name="Persoons, Mathias" userId="441499e7-dba7-4c31-965e-cd23754bcc13" providerId="ADAL" clId="{1426C7AD-FF65-40BC-8F45-13352AF4A21C}" dt="2023-05-08T14:16:34.583" v="955" actId="164"/>
          <ac:grpSpMkLst>
            <pc:docMk/>
            <pc:sldMk cId="3486044391" sldId="2147469731"/>
            <ac:grpSpMk id="4" creationId="{0CCE5413-946F-2EF9-D09F-FF4D506C7ED1}"/>
          </ac:grpSpMkLst>
        </pc:grpChg>
        <pc:grpChg chg="add del mod">
          <ac:chgData name="Persoons, Mathias" userId="441499e7-dba7-4c31-965e-cd23754bcc13" providerId="ADAL" clId="{1426C7AD-FF65-40BC-8F45-13352AF4A21C}" dt="2023-05-10T12:23:37.131" v="1084" actId="478"/>
          <ac:grpSpMkLst>
            <pc:docMk/>
            <pc:sldMk cId="3486044391" sldId="2147469731"/>
            <ac:grpSpMk id="4" creationId="{265128D6-838F-2F97-AF6F-8A8FED43B84E}"/>
          </ac:grpSpMkLst>
        </pc:grpChg>
        <pc:grpChg chg="add mod">
          <ac:chgData name="Persoons, Mathias" userId="441499e7-dba7-4c31-965e-cd23754bcc13" providerId="ADAL" clId="{1426C7AD-FF65-40BC-8F45-13352AF4A21C}" dt="2023-05-08T14:16:34.098" v="954" actId="164"/>
          <ac:grpSpMkLst>
            <pc:docMk/>
            <pc:sldMk cId="3486044391" sldId="2147469731"/>
            <ac:grpSpMk id="5" creationId="{24A1DFAE-7A95-9A4B-1D7B-0180ED3EC225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5" creationId="{C8981F8F-0E7E-7DC3-5E09-9A94EB5A5944}"/>
          </ac:grpSpMkLst>
        </pc:grpChg>
        <pc:grpChg chg="add mod">
          <ac:chgData name="Persoons, Mathias" userId="441499e7-dba7-4c31-965e-cd23754bcc13" providerId="ADAL" clId="{1426C7AD-FF65-40BC-8F45-13352AF4A21C}" dt="2023-05-08T14:27:02.920" v="1012" actId="165"/>
          <ac:grpSpMkLst>
            <pc:docMk/>
            <pc:sldMk cId="3486044391" sldId="2147469731"/>
            <ac:grpSpMk id="6" creationId="{4014462E-5558-6CC2-E09F-AF4868CD73A5}"/>
          </ac:grpSpMkLst>
        </pc:grpChg>
        <pc:grpChg chg="add mod topLvl">
          <ac:chgData name="Persoons, Mathias" userId="441499e7-dba7-4c31-965e-cd23754bcc13" providerId="ADAL" clId="{1426C7AD-FF65-40BC-8F45-13352AF4A21C}" dt="2023-05-08T14:28:22.628" v="1017" actId="164"/>
          <ac:grpSpMkLst>
            <pc:docMk/>
            <pc:sldMk cId="3486044391" sldId="2147469731"/>
            <ac:grpSpMk id="7" creationId="{87BFA457-0C72-2A5A-8E81-58ADB3591FA1}"/>
          </ac:grpSpMkLst>
        </pc:grpChg>
        <pc:grpChg chg="add mod">
          <ac:chgData name="Persoons, Mathias" userId="441499e7-dba7-4c31-965e-cd23754bcc13" providerId="ADAL" clId="{1426C7AD-FF65-40BC-8F45-13352AF4A21C}" dt="2023-05-08T14:27:02.920" v="1012" actId="165"/>
          <ac:grpSpMkLst>
            <pc:docMk/>
            <pc:sldMk cId="3486044391" sldId="2147469731"/>
            <ac:grpSpMk id="8" creationId="{47042407-0AC8-8FE6-9B62-556AD4CACD46}"/>
          </ac:grpSpMkLst>
        </pc:grpChg>
        <pc:grpChg chg="add mod topLvl">
          <ac:chgData name="Persoons, Mathias" userId="441499e7-dba7-4c31-965e-cd23754bcc13" providerId="ADAL" clId="{1426C7AD-FF65-40BC-8F45-13352AF4A21C}" dt="2023-05-08T14:28:22.628" v="1017" actId="164"/>
          <ac:grpSpMkLst>
            <pc:docMk/>
            <pc:sldMk cId="3486044391" sldId="2147469731"/>
            <ac:grpSpMk id="9" creationId="{D1F6E0A1-7E75-5079-1D7A-306D348DFC17}"/>
          </ac:grpSpMkLst>
        </pc:grpChg>
        <pc:grpChg chg="add mod">
          <ac:chgData name="Persoons, Mathias" userId="441499e7-dba7-4c31-965e-cd23754bcc13" providerId="ADAL" clId="{1426C7AD-FF65-40BC-8F45-13352AF4A21C}" dt="2023-05-08T14:27:02.920" v="1012" actId="165"/>
          <ac:grpSpMkLst>
            <pc:docMk/>
            <pc:sldMk cId="3486044391" sldId="2147469731"/>
            <ac:grpSpMk id="10" creationId="{318FD5F5-F162-373A-72FB-0D805A6A8743}"/>
          </ac:grpSpMkLst>
        </pc:grpChg>
        <pc:grpChg chg="add mod topLvl">
          <ac:chgData name="Persoons, Mathias" userId="441499e7-dba7-4c31-965e-cd23754bcc13" providerId="ADAL" clId="{1426C7AD-FF65-40BC-8F45-13352AF4A21C}" dt="2023-05-08T14:28:22.628" v="1017" actId="164"/>
          <ac:grpSpMkLst>
            <pc:docMk/>
            <pc:sldMk cId="3486044391" sldId="2147469731"/>
            <ac:grpSpMk id="12" creationId="{3A1EDF4C-8BDE-14A2-1DA5-A8A4B130F708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13" creationId="{8DD011F5-8228-99A4-A9ED-FE3FE00B0A95}"/>
          </ac:grpSpMkLst>
        </pc:grpChg>
        <pc:grpChg chg="add mod topLvl">
          <ac:chgData name="Persoons, Mathias" userId="441499e7-dba7-4c31-965e-cd23754bcc13" providerId="ADAL" clId="{1426C7AD-FF65-40BC-8F45-13352AF4A21C}" dt="2023-05-08T14:28:22.628" v="1017" actId="164"/>
          <ac:grpSpMkLst>
            <pc:docMk/>
            <pc:sldMk cId="3486044391" sldId="2147469731"/>
            <ac:grpSpMk id="14" creationId="{7BE05A3A-979F-1CBE-F901-E6033E423D61}"/>
          </ac:grpSpMkLst>
        </pc:grpChg>
        <pc:grpChg chg="add mod topLvl">
          <ac:chgData name="Persoons, Mathias" userId="441499e7-dba7-4c31-965e-cd23754bcc13" providerId="ADAL" clId="{1426C7AD-FF65-40BC-8F45-13352AF4A21C}" dt="2023-05-08T14:28:38.620" v="1020" actId="164"/>
          <ac:grpSpMkLst>
            <pc:docMk/>
            <pc:sldMk cId="3486044391" sldId="2147469731"/>
            <ac:grpSpMk id="17" creationId="{115AE3A5-74AD-99CC-7F71-07EF0388634B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18" creationId="{E32ADFF4-7924-A6B9-A9B1-06A5ACBDEC2B}"/>
          </ac:grpSpMkLst>
        </pc:grpChg>
        <pc:grpChg chg="add del mod">
          <ac:chgData name="Persoons, Mathias" userId="441499e7-dba7-4c31-965e-cd23754bcc13" providerId="ADAL" clId="{1426C7AD-FF65-40BC-8F45-13352AF4A21C}" dt="2023-05-08T14:22:57.687" v="1006" actId="165"/>
          <ac:grpSpMkLst>
            <pc:docMk/>
            <pc:sldMk cId="3486044391" sldId="2147469731"/>
            <ac:grpSpMk id="18" creationId="{FD446B9F-DA3D-FE89-DAFB-0FD3440AF1BE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19" creationId="{0E4E9E3B-6D8E-75EA-E167-1DB1A683256F}"/>
          </ac:grpSpMkLst>
        </pc:grpChg>
        <pc:grpChg chg="add del mod">
          <ac:chgData name="Persoons, Mathias" userId="441499e7-dba7-4c31-965e-cd23754bcc13" providerId="ADAL" clId="{1426C7AD-FF65-40BC-8F45-13352AF4A21C}" dt="2023-05-08T14:27:02.920" v="1012" actId="165"/>
          <ac:grpSpMkLst>
            <pc:docMk/>
            <pc:sldMk cId="3486044391" sldId="2147469731"/>
            <ac:grpSpMk id="19" creationId="{A6A7F771-F461-73C0-D649-05BB6BB4101A}"/>
          </ac:grpSpMkLst>
        </pc:grpChg>
        <pc:grpChg chg="add mod">
          <ac:chgData name="Persoons, Mathias" userId="441499e7-dba7-4c31-965e-cd23754bcc13" providerId="ADAL" clId="{1426C7AD-FF65-40BC-8F45-13352AF4A21C}" dt="2023-05-08T14:28:38.620" v="1020" actId="164"/>
          <ac:grpSpMkLst>
            <pc:docMk/>
            <pc:sldMk cId="3486044391" sldId="2147469731"/>
            <ac:grpSpMk id="20" creationId="{EE83A6CB-D386-918B-A9E0-878495B672AA}"/>
          </ac:grpSpMkLst>
        </pc:grpChg>
        <pc:grpChg chg="add del mod">
          <ac:chgData name="Persoons, Mathias" userId="441499e7-dba7-4c31-965e-cd23754bcc13" providerId="ADAL" clId="{1426C7AD-FF65-40BC-8F45-13352AF4A21C}" dt="2023-05-10T12:23:27.573" v="1080" actId="478"/>
          <ac:grpSpMkLst>
            <pc:docMk/>
            <pc:sldMk cId="3486044391" sldId="2147469731"/>
            <ac:grpSpMk id="21" creationId="{C3D00C6F-263F-2478-1162-F1ACBE0B426E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27" creationId="{C1EB91B0-190F-CADC-D24F-9147EF5F7636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41" creationId="{1F81DD00-6066-51A1-F705-0E75667B4377}"/>
          </ac:grpSpMkLst>
        </pc:grpChg>
        <pc:grpChg chg="mod topLvl">
          <ac:chgData name="Persoons, Mathias" userId="441499e7-dba7-4c31-965e-cd23754bcc13" providerId="ADAL" clId="{1426C7AD-FF65-40BC-8F45-13352AF4A21C}" dt="2023-05-08T14:27:02.920" v="1012" actId="165"/>
          <ac:grpSpMkLst>
            <pc:docMk/>
            <pc:sldMk cId="3486044391" sldId="2147469731"/>
            <ac:grpSpMk id="71" creationId="{C905E2BD-C6D9-BA7B-AB3B-EC2D3B1EBF2A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107" creationId="{6C8EF073-4CA2-EBFE-26CE-6ED52981056E}"/>
          </ac:grpSpMkLst>
        </pc:grpChg>
        <pc:grpChg chg="mod">
          <ac:chgData name="Persoons, Mathias" userId="441499e7-dba7-4c31-965e-cd23754bcc13" providerId="ADAL" clId="{1426C7AD-FF65-40BC-8F45-13352AF4A21C}" dt="2023-05-10T12:23:27.908" v="1081"/>
          <ac:grpSpMkLst>
            <pc:docMk/>
            <pc:sldMk cId="3486044391" sldId="2147469731"/>
            <ac:grpSpMk id="111" creationId="{5B88FB5E-7902-6C07-B188-2A5C7D01428E}"/>
          </ac:grpSpMkLst>
        </pc:grpChg>
        <pc:picChg chg="del mod">
          <ac:chgData name="Persoons, Mathias" userId="441499e7-dba7-4c31-965e-cd23754bcc13" providerId="ADAL" clId="{1426C7AD-FF65-40BC-8F45-13352AF4A21C}" dt="2023-05-10T12:23:47.378" v="1087" actId="478"/>
          <ac:picMkLst>
            <pc:docMk/>
            <pc:sldMk cId="3486044391" sldId="2147469731"/>
            <ac:picMk id="2" creationId="{2FB27393-DD53-877D-A44C-40218D475D95}"/>
          </ac:picMkLst>
        </pc:picChg>
        <pc:picChg chg="add mod">
          <ac:chgData name="Persoons, Mathias" userId="441499e7-dba7-4c31-965e-cd23754bcc13" providerId="ADAL" clId="{1426C7AD-FF65-40BC-8F45-13352AF4A21C}" dt="2023-06-02T11:26:53.259" v="1477" actId="14100"/>
          <ac:picMkLst>
            <pc:docMk/>
            <pc:sldMk cId="3486044391" sldId="2147469731"/>
            <ac:picMk id="2" creationId="{B95666DF-E198-36F3-7F80-2826C165852A}"/>
          </ac:picMkLst>
        </pc:picChg>
        <pc:picChg chg="add mod">
          <ac:chgData name="Persoons, Mathias" userId="441499e7-dba7-4c31-965e-cd23754bcc13" providerId="ADAL" clId="{1426C7AD-FF65-40BC-8F45-13352AF4A21C}" dt="2023-06-20T08:46:03.205" v="3499" actId="1076"/>
          <ac:picMkLst>
            <pc:docMk/>
            <pc:sldMk cId="3486044391" sldId="2147469731"/>
            <ac:picMk id="5" creationId="{6A19587F-3CE2-D911-8DB4-FA2710E05982}"/>
          </ac:picMkLst>
        </pc:picChg>
        <pc:picChg chg="add mod">
          <ac:chgData name="Persoons, Mathias" userId="441499e7-dba7-4c31-965e-cd23754bcc13" providerId="ADAL" clId="{1426C7AD-FF65-40BC-8F45-13352AF4A21C}" dt="2023-06-20T08:51:15.824" v="3511" actId="1076"/>
          <ac:picMkLst>
            <pc:docMk/>
            <pc:sldMk cId="3486044391" sldId="2147469731"/>
            <ac:picMk id="6" creationId="{999B3604-04E4-9018-D293-A583DECA0123}"/>
          </ac:picMkLst>
        </pc:picChg>
        <pc:picChg chg="add mod ord">
          <ac:chgData name="Persoons, Mathias" userId="441499e7-dba7-4c31-965e-cd23754bcc13" providerId="ADAL" clId="{1426C7AD-FF65-40BC-8F45-13352AF4A21C}" dt="2023-06-20T08:54:10.059" v="3551"/>
          <ac:picMkLst>
            <pc:docMk/>
            <pc:sldMk cId="3486044391" sldId="2147469731"/>
            <ac:picMk id="7" creationId="{06653C54-BEC7-A23F-84F6-E6E212F5699B}"/>
          </ac:picMkLst>
        </pc:picChg>
        <pc:picChg chg="add del mod">
          <ac:chgData name="Persoons, Mathias" userId="441499e7-dba7-4c31-965e-cd23754bcc13" providerId="ADAL" clId="{1426C7AD-FF65-40BC-8F45-13352AF4A21C}" dt="2023-05-17T10:48:31.405" v="1092" actId="478"/>
          <ac:picMkLst>
            <pc:docMk/>
            <pc:sldMk cId="3486044391" sldId="2147469731"/>
            <ac:picMk id="120" creationId="{1471591A-135F-E9AA-A638-C0F516A50C7F}"/>
          </ac:picMkLst>
        </pc:picChg>
      </pc:sldChg>
      <pc:sldChg chg="new del">
        <pc:chgData name="Persoons, Mathias" userId="441499e7-dba7-4c31-965e-cd23754bcc13" providerId="ADAL" clId="{1426C7AD-FF65-40BC-8F45-13352AF4A21C}" dt="2023-05-09T19:43:44.955" v="1022" actId="2696"/>
        <pc:sldMkLst>
          <pc:docMk/>
          <pc:sldMk cId="1468649157" sldId="2147469732"/>
        </pc:sldMkLst>
      </pc:sldChg>
      <pc:sldChg chg="addSp delSp modSp del mod ord modTransition delAnim modAnim modNotesTx">
        <pc:chgData name="Persoons, Mathias" userId="441499e7-dba7-4c31-965e-cd23754bcc13" providerId="ADAL" clId="{1426C7AD-FF65-40BC-8F45-13352AF4A21C}" dt="2023-06-25T14:18:00.155" v="14544" actId="2696"/>
        <pc:sldMkLst>
          <pc:docMk/>
          <pc:sldMk cId="2275085843" sldId="2147469732"/>
        </pc:sldMkLst>
        <pc:picChg chg="add mod">
          <ac:chgData name="Persoons, Mathias" userId="441499e7-dba7-4c31-965e-cd23754bcc13" providerId="ADAL" clId="{1426C7AD-FF65-40BC-8F45-13352AF4A21C}" dt="2023-06-25T13:43:13.925" v="14446" actId="1076"/>
          <ac:picMkLst>
            <pc:docMk/>
            <pc:sldMk cId="2275085843" sldId="2147469732"/>
            <ac:picMk id="3" creationId="{C77279D4-F119-1332-CFE7-6D3A5F0C99D0}"/>
          </ac:picMkLst>
        </pc:picChg>
        <pc:picChg chg="mod">
          <ac:chgData name="Persoons, Mathias" userId="441499e7-dba7-4c31-965e-cd23754bcc13" providerId="ADAL" clId="{1426C7AD-FF65-40BC-8F45-13352AF4A21C}" dt="2023-06-25T13:42:00.530" v="14443" actId="1076"/>
          <ac:picMkLst>
            <pc:docMk/>
            <pc:sldMk cId="2275085843" sldId="2147469732"/>
            <ac:picMk id="7" creationId="{164D88BE-C0AA-6559-6EE1-073324C540C1}"/>
          </ac:picMkLst>
        </pc:picChg>
        <pc:picChg chg="del">
          <ac:chgData name="Persoons, Mathias" userId="441499e7-dba7-4c31-965e-cd23754bcc13" providerId="ADAL" clId="{1426C7AD-FF65-40BC-8F45-13352AF4A21C}" dt="2023-06-25T13:41:53.960" v="14439" actId="478"/>
          <ac:picMkLst>
            <pc:docMk/>
            <pc:sldMk cId="2275085843" sldId="2147469732"/>
            <ac:picMk id="9" creationId="{C9ACA21F-182E-BE50-69B3-392BFF1C4989}"/>
          </ac:picMkLst>
        </pc:picChg>
        <pc:picChg chg="del">
          <ac:chgData name="Persoons, Mathias" userId="441499e7-dba7-4c31-965e-cd23754bcc13" providerId="ADAL" clId="{1426C7AD-FF65-40BC-8F45-13352AF4A21C}" dt="2023-06-25T13:41:54.847" v="14440" actId="478"/>
          <ac:picMkLst>
            <pc:docMk/>
            <pc:sldMk cId="2275085843" sldId="2147469732"/>
            <ac:picMk id="13" creationId="{25B42AE8-7BA9-628A-D95E-212715293CFD}"/>
          </ac:picMkLst>
        </pc:picChg>
        <pc:picChg chg="del">
          <ac:chgData name="Persoons, Mathias" userId="441499e7-dba7-4c31-965e-cd23754bcc13" providerId="ADAL" clId="{1426C7AD-FF65-40BC-8F45-13352AF4A21C}" dt="2023-06-25T13:41:55.482" v="14441" actId="478"/>
          <ac:picMkLst>
            <pc:docMk/>
            <pc:sldMk cId="2275085843" sldId="2147469732"/>
            <ac:picMk id="15" creationId="{7E771438-6543-43CC-44DA-19FC139091A6}"/>
          </ac:picMkLst>
        </pc:picChg>
      </pc:sldChg>
      <pc:sldChg chg="addSp delSp modSp add del mod">
        <pc:chgData name="Persoons, Mathias" userId="441499e7-dba7-4c31-965e-cd23754bcc13" providerId="ADAL" clId="{1426C7AD-FF65-40BC-8F45-13352AF4A21C}" dt="2023-05-08T14:14:27.010" v="946" actId="47"/>
        <pc:sldMkLst>
          <pc:docMk/>
          <pc:sldMk cId="2290276546" sldId="2147469732"/>
        </pc:sldMkLst>
        <pc:spChg chg="add del mod">
          <ac:chgData name="Persoons, Mathias" userId="441499e7-dba7-4c31-965e-cd23754bcc13" providerId="ADAL" clId="{1426C7AD-FF65-40BC-8F45-13352AF4A21C}" dt="2023-05-08T14:14:24.220" v="945" actId="6549"/>
          <ac:spMkLst>
            <pc:docMk/>
            <pc:sldMk cId="2290276546" sldId="2147469732"/>
            <ac:spMk id="4" creationId="{84480D9F-6915-DF55-D9EA-8C099F7BECC8}"/>
          </ac:spMkLst>
        </pc:spChg>
      </pc:sldChg>
      <pc:sldChg chg="addSp delSp modSp add del mod addAnim delAnim modAnim">
        <pc:chgData name="Persoons, Mathias" userId="441499e7-dba7-4c31-965e-cd23754bcc13" providerId="ADAL" clId="{1426C7AD-FF65-40BC-8F45-13352AF4A21C}" dt="2023-06-25T20:50:52.202" v="14893" actId="47"/>
        <pc:sldMkLst>
          <pc:docMk/>
          <pc:sldMk cId="2973633144" sldId="2147469732"/>
        </pc:sldMkLst>
        <pc:spChg chg="add del mod ord">
          <ac:chgData name="Persoons, Mathias" userId="441499e7-dba7-4c31-965e-cd23754bcc13" providerId="ADAL" clId="{1426C7AD-FF65-40BC-8F45-13352AF4A21C}" dt="2023-06-25T20:37:04.213" v="14769" actId="21"/>
          <ac:spMkLst>
            <pc:docMk/>
            <pc:sldMk cId="2973633144" sldId="2147469732"/>
            <ac:spMk id="2" creationId="{AE992653-D006-AD6C-7F58-A941947A23E8}"/>
          </ac:spMkLst>
        </pc:spChg>
        <pc:spChg chg="add del mod topLvl">
          <ac:chgData name="Persoons, Mathias" userId="441499e7-dba7-4c31-965e-cd23754bcc13" providerId="ADAL" clId="{1426C7AD-FF65-40BC-8F45-13352AF4A21C}" dt="2023-06-25T20:49:20.993" v="14886" actId="164"/>
          <ac:spMkLst>
            <pc:docMk/>
            <pc:sldMk cId="2973633144" sldId="2147469732"/>
            <ac:spMk id="6" creationId="{DA537E4E-D411-A303-ABB5-EEFD9056D88A}"/>
          </ac:spMkLst>
        </pc:spChg>
        <pc:grpChg chg="add del mod">
          <ac:chgData name="Persoons, Mathias" userId="441499e7-dba7-4c31-965e-cd23754bcc13" providerId="ADAL" clId="{1426C7AD-FF65-40BC-8F45-13352AF4A21C}" dt="2023-06-25T20:37:06.942" v="14770" actId="21"/>
          <ac:grpSpMkLst>
            <pc:docMk/>
            <pc:sldMk cId="2973633144" sldId="2147469732"/>
            <ac:grpSpMk id="4" creationId="{D6FA6508-2DA4-D61C-1C41-A50FBB9EA498}"/>
          </ac:grpSpMkLst>
        </pc:grpChg>
        <pc:grpChg chg="add del mod">
          <ac:chgData name="Persoons, Mathias" userId="441499e7-dba7-4c31-965e-cd23754bcc13" providerId="ADAL" clId="{1426C7AD-FF65-40BC-8F45-13352AF4A21C}" dt="2023-06-25T20:40:40.765" v="14785" actId="165"/>
          <ac:grpSpMkLst>
            <pc:docMk/>
            <pc:sldMk cId="2973633144" sldId="2147469732"/>
            <ac:grpSpMk id="5" creationId="{56F2FDF0-F669-4A52-8E04-E42C3A46B44D}"/>
          </ac:grpSpMkLst>
        </pc:grpChg>
        <pc:grpChg chg="add del mod">
          <ac:chgData name="Persoons, Mathias" userId="441499e7-dba7-4c31-965e-cd23754bcc13" providerId="ADAL" clId="{1426C7AD-FF65-40BC-8F45-13352AF4A21C}" dt="2023-06-25T20:43:02.735" v="14801" actId="165"/>
          <ac:grpSpMkLst>
            <pc:docMk/>
            <pc:sldMk cId="2973633144" sldId="2147469732"/>
            <ac:grpSpMk id="11" creationId="{F3BE9A23-BBC4-F3A0-6AF5-F0D85F468A78}"/>
          </ac:grpSpMkLst>
        </pc:grpChg>
        <pc:grpChg chg="add del mod">
          <ac:chgData name="Persoons, Mathias" userId="441499e7-dba7-4c31-965e-cd23754bcc13" providerId="ADAL" clId="{1426C7AD-FF65-40BC-8F45-13352AF4A21C}" dt="2023-06-25T20:46:04.026" v="14855" actId="165"/>
          <ac:grpSpMkLst>
            <pc:docMk/>
            <pc:sldMk cId="2973633144" sldId="2147469732"/>
            <ac:grpSpMk id="13" creationId="{2FDF6174-89BE-285A-46FF-283C338EB52C}"/>
          </ac:grpSpMkLst>
        </pc:grpChg>
        <pc:grpChg chg="add del mod">
          <ac:chgData name="Persoons, Mathias" userId="441499e7-dba7-4c31-965e-cd23754bcc13" providerId="ADAL" clId="{1426C7AD-FF65-40BC-8F45-13352AF4A21C}" dt="2023-06-25T20:47:26.972" v="14867" actId="165"/>
          <ac:grpSpMkLst>
            <pc:docMk/>
            <pc:sldMk cId="2973633144" sldId="2147469732"/>
            <ac:grpSpMk id="15" creationId="{1BB637AE-B1B7-0DC0-6787-A2FE0B6BDE2B}"/>
          </ac:grpSpMkLst>
        </pc:grpChg>
        <pc:grpChg chg="add del mod">
          <ac:chgData name="Persoons, Mathias" userId="441499e7-dba7-4c31-965e-cd23754bcc13" providerId="ADAL" clId="{1426C7AD-FF65-40BC-8F45-13352AF4A21C}" dt="2023-06-25T20:49:01.467" v="14880" actId="165"/>
          <ac:grpSpMkLst>
            <pc:docMk/>
            <pc:sldMk cId="2973633144" sldId="2147469732"/>
            <ac:grpSpMk id="17" creationId="{3C69328D-D370-1A5C-31D4-F4F79E71F3F2}"/>
          </ac:grpSpMkLst>
        </pc:grpChg>
        <pc:grpChg chg="add mod">
          <ac:chgData name="Persoons, Mathias" userId="441499e7-dba7-4c31-965e-cd23754bcc13" providerId="ADAL" clId="{1426C7AD-FF65-40BC-8F45-13352AF4A21C}" dt="2023-06-25T20:49:20.993" v="14886" actId="164"/>
          <ac:grpSpMkLst>
            <pc:docMk/>
            <pc:sldMk cId="2973633144" sldId="2147469732"/>
            <ac:grpSpMk id="19" creationId="{E6A89B36-07D8-6AE4-7AA3-671CFBF54355}"/>
          </ac:grpSpMkLst>
        </pc:grpChg>
        <pc:picChg chg="add del mod">
          <ac:chgData name="Persoons, Mathias" userId="441499e7-dba7-4c31-965e-cd23754bcc13" providerId="ADAL" clId="{1426C7AD-FF65-40BC-8F45-13352AF4A21C}" dt="2023-06-25T20:37:00.564" v="14767" actId="164"/>
          <ac:picMkLst>
            <pc:docMk/>
            <pc:sldMk cId="2973633144" sldId="2147469732"/>
            <ac:picMk id="3" creationId="{C77279D4-F119-1332-CFE7-6D3A5F0C99D0}"/>
          </ac:picMkLst>
        </pc:picChg>
        <pc:picChg chg="mod">
          <ac:chgData name="Persoons, Mathias" userId="441499e7-dba7-4c31-965e-cd23754bcc13" providerId="ADAL" clId="{1426C7AD-FF65-40BC-8F45-13352AF4A21C}" dt="2023-06-25T20:37:00.564" v="14767" actId="164"/>
          <ac:picMkLst>
            <pc:docMk/>
            <pc:sldMk cId="2973633144" sldId="2147469732"/>
            <ac:picMk id="7" creationId="{164D88BE-C0AA-6559-6EE1-073324C540C1}"/>
          </ac:picMkLst>
        </pc:picChg>
        <pc:picChg chg="del mod topLvl">
          <ac:chgData name="Persoons, Mathias" userId="441499e7-dba7-4c31-965e-cd23754bcc13" providerId="ADAL" clId="{1426C7AD-FF65-40BC-8F45-13352AF4A21C}" dt="2023-06-25T20:40:45.794" v="14787" actId="478"/>
          <ac:picMkLst>
            <pc:docMk/>
            <pc:sldMk cId="2973633144" sldId="2147469732"/>
            <ac:picMk id="8" creationId="{BCB3453E-09B0-533E-D678-EFAAD7DCEE0D}"/>
          </ac:picMkLst>
        </pc:picChg>
        <pc:picChg chg="del mod topLvl">
          <ac:chgData name="Persoons, Mathias" userId="441499e7-dba7-4c31-965e-cd23754bcc13" providerId="ADAL" clId="{1426C7AD-FF65-40BC-8F45-13352AF4A21C}" dt="2023-06-25T20:40:44.712" v="14786" actId="478"/>
          <ac:picMkLst>
            <pc:docMk/>
            <pc:sldMk cId="2973633144" sldId="2147469732"/>
            <ac:picMk id="9" creationId="{97121C13-4032-D757-C352-E3936BC36998}"/>
          </ac:picMkLst>
        </pc:picChg>
        <pc:picChg chg="add del mod topLvl">
          <ac:chgData name="Persoons, Mathias" userId="441499e7-dba7-4c31-965e-cd23754bcc13" providerId="ADAL" clId="{1426C7AD-FF65-40BC-8F45-13352AF4A21C}" dt="2023-06-25T20:43:06.664" v="14802" actId="478"/>
          <ac:picMkLst>
            <pc:docMk/>
            <pc:sldMk cId="2973633144" sldId="2147469732"/>
            <ac:picMk id="10" creationId="{EF8843E1-956B-F01C-3896-A1406C91A045}"/>
          </ac:picMkLst>
        </pc:picChg>
        <pc:picChg chg="add del mod topLvl">
          <ac:chgData name="Persoons, Mathias" userId="441499e7-dba7-4c31-965e-cd23754bcc13" providerId="ADAL" clId="{1426C7AD-FF65-40BC-8F45-13352AF4A21C}" dt="2023-06-25T20:46:07.185" v="14856" actId="478"/>
          <ac:picMkLst>
            <pc:docMk/>
            <pc:sldMk cId="2973633144" sldId="2147469732"/>
            <ac:picMk id="12" creationId="{0F916F83-F21C-D79C-10A4-23E68529D4BF}"/>
          </ac:picMkLst>
        </pc:picChg>
        <pc:picChg chg="add del mod topLvl">
          <ac:chgData name="Persoons, Mathias" userId="441499e7-dba7-4c31-965e-cd23754bcc13" providerId="ADAL" clId="{1426C7AD-FF65-40BC-8F45-13352AF4A21C}" dt="2023-06-25T20:47:32.755" v="14868" actId="478"/>
          <ac:picMkLst>
            <pc:docMk/>
            <pc:sldMk cId="2973633144" sldId="2147469732"/>
            <ac:picMk id="14" creationId="{8CEDB243-D565-F76A-5743-B0B0BA7D0340}"/>
          </ac:picMkLst>
        </pc:picChg>
        <pc:picChg chg="add del mod topLvl">
          <ac:chgData name="Persoons, Mathias" userId="441499e7-dba7-4c31-965e-cd23754bcc13" providerId="ADAL" clId="{1426C7AD-FF65-40BC-8F45-13352AF4A21C}" dt="2023-06-25T20:49:07.664" v="14883" actId="478"/>
          <ac:picMkLst>
            <pc:docMk/>
            <pc:sldMk cId="2973633144" sldId="2147469732"/>
            <ac:picMk id="16" creationId="{248B5523-4D24-880B-BC02-CF25C4B2EB4B}"/>
          </ac:picMkLst>
        </pc:picChg>
        <pc:picChg chg="add mod">
          <ac:chgData name="Persoons, Mathias" userId="441499e7-dba7-4c31-965e-cd23754bcc13" providerId="ADAL" clId="{1426C7AD-FF65-40BC-8F45-13352AF4A21C}" dt="2023-06-25T20:49:20.993" v="14886" actId="164"/>
          <ac:picMkLst>
            <pc:docMk/>
            <pc:sldMk cId="2973633144" sldId="2147469732"/>
            <ac:picMk id="18" creationId="{5CD53A76-7320-331C-3E48-01DC72C16FF8}"/>
          </ac:picMkLst>
        </pc:picChg>
      </pc:sldChg>
      <pc:sldChg chg="modTransition">
        <pc:chgData name="Persoons, Mathias" userId="441499e7-dba7-4c31-965e-cd23754bcc13" providerId="ADAL" clId="{1426C7AD-FF65-40BC-8F45-13352AF4A21C}" dt="2023-06-25T07:25:44.360" v="8275"/>
        <pc:sldMkLst>
          <pc:docMk/>
          <pc:sldMk cId="1494120324" sldId="2147470190"/>
        </pc:sldMkLst>
      </pc:sldChg>
      <pc:sldChg chg="modSp new del mod modNotesTx">
        <pc:chgData name="Persoons, Mathias" userId="441499e7-dba7-4c31-965e-cd23754bcc13" providerId="ADAL" clId="{1426C7AD-FF65-40BC-8F45-13352AF4A21C}" dt="2023-05-26T06:36:37.525" v="1460" actId="47"/>
        <pc:sldMkLst>
          <pc:docMk/>
          <pc:sldMk cId="1941984039" sldId="2147470191"/>
        </pc:sldMkLst>
        <pc:spChg chg="mod">
          <ac:chgData name="Persoons, Mathias" userId="441499e7-dba7-4c31-965e-cd23754bcc13" providerId="ADAL" clId="{1426C7AD-FF65-40BC-8F45-13352AF4A21C}" dt="2023-05-24T11:37:15.993" v="1324" actId="20577"/>
          <ac:spMkLst>
            <pc:docMk/>
            <pc:sldMk cId="1941984039" sldId="2147470191"/>
            <ac:spMk id="3" creationId="{C3F420B5-2DFB-59BD-8490-7001ED934C88}"/>
          </ac:spMkLst>
        </pc:spChg>
      </pc:sldChg>
      <pc:sldChg chg="modSp new mod modNotesTx">
        <pc:chgData name="Persoons, Mathias" userId="441499e7-dba7-4c31-965e-cd23754bcc13" providerId="ADAL" clId="{1426C7AD-FF65-40BC-8F45-13352AF4A21C}" dt="2023-06-14T14:17:40.749" v="2904" actId="14100"/>
        <pc:sldMkLst>
          <pc:docMk/>
          <pc:sldMk cId="2880696089" sldId="2147470192"/>
        </pc:sldMkLst>
        <pc:spChg chg="mod">
          <ac:chgData name="Persoons, Mathias" userId="441499e7-dba7-4c31-965e-cd23754bcc13" providerId="ADAL" clId="{1426C7AD-FF65-40BC-8F45-13352AF4A21C}" dt="2023-06-02T11:04:45.406" v="1476" actId="20577"/>
          <ac:spMkLst>
            <pc:docMk/>
            <pc:sldMk cId="2880696089" sldId="2147470192"/>
            <ac:spMk id="3" creationId="{DED6D111-87BE-2113-CC3B-46BB4A442314}"/>
          </ac:spMkLst>
        </pc:spChg>
        <pc:spChg chg="mod">
          <ac:chgData name="Persoons, Mathias" userId="441499e7-dba7-4c31-965e-cd23754bcc13" providerId="ADAL" clId="{1426C7AD-FF65-40BC-8F45-13352AF4A21C}" dt="2023-06-14T14:17:40.749" v="2904" actId="14100"/>
          <ac:spMkLst>
            <pc:docMk/>
            <pc:sldMk cId="2880696089" sldId="2147470192"/>
            <ac:spMk id="5" creationId="{C409A5C5-071F-142E-7D75-BCC1672F721A}"/>
          </ac:spMkLst>
        </pc:spChg>
        <pc:picChg chg="mod">
          <ac:chgData name="Persoons, Mathias" userId="441499e7-dba7-4c31-965e-cd23754bcc13" providerId="ADAL" clId="{1426C7AD-FF65-40BC-8F45-13352AF4A21C}" dt="2023-06-14T08:25:12.704" v="2803" actId="14826"/>
          <ac:picMkLst>
            <pc:docMk/>
            <pc:sldMk cId="2880696089" sldId="2147470192"/>
            <ac:picMk id="43010" creationId="{2389B263-00B3-B8EC-BA71-C3FBB42BCA9E}"/>
          </ac:picMkLst>
        </pc:picChg>
      </pc:sldChg>
      <pc:sldChg chg="modSp new del mod modNotesTx">
        <pc:chgData name="Persoons, Mathias" userId="441499e7-dba7-4c31-965e-cd23754bcc13" providerId="ADAL" clId="{1426C7AD-FF65-40BC-8F45-13352AF4A21C}" dt="2023-06-02T11:04:36.818" v="1465" actId="47"/>
        <pc:sldMkLst>
          <pc:docMk/>
          <pc:sldMk cId="2230404373" sldId="2147470193"/>
        </pc:sldMkLst>
        <pc:spChg chg="mod">
          <ac:chgData name="Persoons, Mathias" userId="441499e7-dba7-4c31-965e-cd23754bcc13" providerId="ADAL" clId="{1426C7AD-FF65-40BC-8F45-13352AF4A21C}" dt="2023-05-24T11:37:37.036" v="1349" actId="20577"/>
          <ac:spMkLst>
            <pc:docMk/>
            <pc:sldMk cId="2230404373" sldId="2147470193"/>
            <ac:spMk id="3" creationId="{2A422D01-A31D-47F3-2904-2289D609FF42}"/>
          </ac:spMkLst>
        </pc:spChg>
      </pc:sldChg>
      <pc:sldChg chg="modSp new mod modNotesTx">
        <pc:chgData name="Persoons, Mathias" userId="441499e7-dba7-4c31-965e-cd23754bcc13" providerId="ADAL" clId="{1426C7AD-FF65-40BC-8F45-13352AF4A21C}" dt="2023-05-24T11:39:43.796" v="1379" actId="20577"/>
        <pc:sldMkLst>
          <pc:docMk/>
          <pc:sldMk cId="3969426715" sldId="2147470194"/>
        </pc:sldMkLst>
        <pc:spChg chg="mod">
          <ac:chgData name="Persoons, Mathias" userId="441499e7-dba7-4c31-965e-cd23754bcc13" providerId="ADAL" clId="{1426C7AD-FF65-40BC-8F45-13352AF4A21C}" dt="2023-05-24T11:37:49.535" v="1362" actId="20577"/>
          <ac:spMkLst>
            <pc:docMk/>
            <pc:sldMk cId="3969426715" sldId="2147470194"/>
            <ac:spMk id="3" creationId="{EF381131-9ABE-1A76-DE03-480D1F936C32}"/>
          </ac:spMkLst>
        </pc:spChg>
      </pc:sldChg>
      <pc:sldChg chg="modSp new mod">
        <pc:chgData name="Persoons, Mathias" userId="441499e7-dba7-4c31-965e-cd23754bcc13" providerId="ADAL" clId="{1426C7AD-FF65-40BC-8F45-13352AF4A21C}" dt="2023-05-24T11:52:53.336" v="1459" actId="20577"/>
        <pc:sldMkLst>
          <pc:docMk/>
          <pc:sldMk cId="3532311046" sldId="2147470195"/>
        </pc:sldMkLst>
        <pc:spChg chg="mod">
          <ac:chgData name="Persoons, Mathias" userId="441499e7-dba7-4c31-965e-cd23754bcc13" providerId="ADAL" clId="{1426C7AD-FF65-40BC-8F45-13352AF4A21C}" dt="2023-05-24T11:52:53.336" v="1459" actId="20577"/>
          <ac:spMkLst>
            <pc:docMk/>
            <pc:sldMk cId="3532311046" sldId="2147470195"/>
            <ac:spMk id="4" creationId="{4AEB17F6-E3FA-13AD-D271-E177D1C0CDC4}"/>
          </ac:spMkLst>
        </pc:spChg>
      </pc:sldChg>
      <pc:sldChg chg="addSp delSp modSp mod ord modTransition modAnim modNotesTx">
        <pc:chgData name="Persoons, Mathias" userId="441499e7-dba7-4c31-965e-cd23754bcc13" providerId="ADAL" clId="{1426C7AD-FF65-40BC-8F45-13352AF4A21C}" dt="2023-06-26T15:25:51.052" v="15179" actId="20577"/>
        <pc:sldMkLst>
          <pc:docMk/>
          <pc:sldMk cId="4114597471" sldId="2147470196"/>
        </pc:sldMkLst>
        <pc:spChg chg="mod">
          <ac:chgData name="Persoons, Mathias" userId="441499e7-dba7-4c31-965e-cd23754bcc13" providerId="ADAL" clId="{1426C7AD-FF65-40BC-8F45-13352AF4A21C}" dt="2023-06-26T15:25:51.052" v="15179" actId="20577"/>
          <ac:spMkLst>
            <pc:docMk/>
            <pc:sldMk cId="4114597471" sldId="2147470196"/>
            <ac:spMk id="3" creationId="{B0BDE5F6-4FBF-94C5-219D-BDBBCF051956}"/>
          </ac:spMkLst>
        </pc:spChg>
        <pc:picChg chg="add mod modCrop">
          <ac:chgData name="Persoons, Mathias" userId="441499e7-dba7-4c31-965e-cd23754bcc13" providerId="ADAL" clId="{1426C7AD-FF65-40BC-8F45-13352AF4A21C}" dt="2023-06-20T13:19:02.139" v="6334" actId="18131"/>
          <ac:picMkLst>
            <pc:docMk/>
            <pc:sldMk cId="4114597471" sldId="2147470196"/>
            <ac:picMk id="5" creationId="{40E18B0F-F821-26E3-8EE2-B19CD6A6356B}"/>
          </ac:picMkLst>
        </pc:picChg>
        <pc:picChg chg="del">
          <ac:chgData name="Persoons, Mathias" userId="441499e7-dba7-4c31-965e-cd23754bcc13" providerId="ADAL" clId="{1426C7AD-FF65-40BC-8F45-13352AF4A21C}" dt="2023-06-20T11:26:50.843" v="5163" actId="478"/>
          <ac:picMkLst>
            <pc:docMk/>
            <pc:sldMk cId="4114597471" sldId="2147470196"/>
            <ac:picMk id="8" creationId="{06C315CF-DAC4-AE6D-BBD7-FBD040826A36}"/>
          </ac:picMkLst>
        </pc:picChg>
      </pc:sldChg>
      <pc:sldChg chg="modNotesTx">
        <pc:chgData name="Persoons, Mathias" userId="441499e7-dba7-4c31-965e-cd23754bcc13" providerId="ADAL" clId="{1426C7AD-FF65-40BC-8F45-13352AF4A21C}" dt="2023-06-14T13:26:48.170" v="2829"/>
        <pc:sldMkLst>
          <pc:docMk/>
          <pc:sldMk cId="1101881423" sldId="2147470197"/>
        </pc:sldMkLst>
      </pc:sldChg>
      <pc:sldChg chg="add modNotesTx">
        <pc:chgData name="Persoons, Mathias" userId="441499e7-dba7-4c31-965e-cd23754bcc13" providerId="ADAL" clId="{1426C7AD-FF65-40BC-8F45-13352AF4A21C}" dt="2023-06-14T13:26:54.921" v="2832"/>
        <pc:sldMkLst>
          <pc:docMk/>
          <pc:sldMk cId="2862445441" sldId="2147470198"/>
        </pc:sldMkLst>
      </pc:sldChg>
      <pc:sldChg chg="del modNotesTx">
        <pc:chgData name="Persoons, Mathias" userId="441499e7-dba7-4c31-965e-cd23754bcc13" providerId="ADAL" clId="{1426C7AD-FF65-40BC-8F45-13352AF4A21C}" dt="2023-06-20T10:54:58.225" v="5161" actId="47"/>
        <pc:sldMkLst>
          <pc:docMk/>
          <pc:sldMk cId="2130502699" sldId="2147470199"/>
        </pc:sldMkLst>
      </pc:sldChg>
      <pc:sldChg chg="new del">
        <pc:chgData name="Persoons, Mathias" userId="441499e7-dba7-4c31-965e-cd23754bcc13" providerId="ADAL" clId="{1426C7AD-FF65-40BC-8F45-13352AF4A21C}" dt="2023-06-02T13:06:52.572" v="1853" actId="47"/>
        <pc:sldMkLst>
          <pc:docMk/>
          <pc:sldMk cId="4278793295" sldId="2147470200"/>
        </pc:sldMkLst>
      </pc:sldChg>
      <pc:sldChg chg="addSp delSp modSp new mod ord modTransition modAnim modNotesTx">
        <pc:chgData name="Persoons, Mathias" userId="441499e7-dba7-4c31-965e-cd23754bcc13" providerId="ADAL" clId="{1426C7AD-FF65-40BC-8F45-13352AF4A21C}" dt="2023-06-25T07:25:44.360" v="8275"/>
        <pc:sldMkLst>
          <pc:docMk/>
          <pc:sldMk cId="1700925479" sldId="2147470201"/>
        </pc:sldMkLst>
        <pc:spChg chg="mod">
          <ac:chgData name="Persoons, Mathias" userId="441499e7-dba7-4c31-965e-cd23754bcc13" providerId="ADAL" clId="{1426C7AD-FF65-40BC-8F45-13352AF4A21C}" dt="2023-06-14T14:09:20.655" v="2871" actId="1076"/>
          <ac:spMkLst>
            <pc:docMk/>
            <pc:sldMk cId="1700925479" sldId="2147470201"/>
            <ac:spMk id="2" creationId="{B8036D30-2F9E-0CF0-EADC-C8D6D00D2ECE}"/>
          </ac:spMkLst>
        </pc:spChg>
        <pc:spChg chg="del">
          <ac:chgData name="Persoons, Mathias" userId="441499e7-dba7-4c31-965e-cd23754bcc13" providerId="ADAL" clId="{1426C7AD-FF65-40BC-8F45-13352AF4A21C}" dt="2023-06-14T14:09:11.142" v="2867" actId="478"/>
          <ac:spMkLst>
            <pc:docMk/>
            <pc:sldMk cId="1700925479" sldId="2147470201"/>
            <ac:spMk id="3" creationId="{3071F86A-38B7-9967-43DD-2B7FA60A1868}"/>
          </ac:spMkLst>
        </pc:spChg>
        <pc:spChg chg="del mod">
          <ac:chgData name="Persoons, Mathias" userId="441499e7-dba7-4c31-965e-cd23754bcc13" providerId="ADAL" clId="{1426C7AD-FF65-40BC-8F45-13352AF4A21C}" dt="2023-06-21T13:22:15.208" v="8134" actId="478"/>
          <ac:spMkLst>
            <pc:docMk/>
            <pc:sldMk cId="1700925479" sldId="2147470201"/>
            <ac:spMk id="4" creationId="{2609F9EA-457A-3A34-47B5-652033A42707}"/>
          </ac:spMkLst>
        </pc:spChg>
        <pc:spChg chg="mod topLvl">
          <ac:chgData name="Persoons, Mathias" userId="441499e7-dba7-4c31-965e-cd23754bcc13" providerId="ADAL" clId="{1426C7AD-FF65-40BC-8F45-13352AF4A21C}" dt="2023-06-24T11:03:40.171" v="8173" actId="14100"/>
          <ac:spMkLst>
            <pc:docMk/>
            <pc:sldMk cId="1700925479" sldId="2147470201"/>
            <ac:spMk id="5" creationId="{3B3C0108-5A05-EB98-4813-7EB5D359EC91}"/>
          </ac:spMkLst>
        </pc:spChg>
        <pc:spChg chg="mod topLvl">
          <ac:chgData name="Persoons, Mathias" userId="441499e7-dba7-4c31-965e-cd23754bcc13" providerId="ADAL" clId="{1426C7AD-FF65-40BC-8F45-13352AF4A21C}" dt="2023-06-24T11:03:37.209" v="8168" actId="12788"/>
          <ac:spMkLst>
            <pc:docMk/>
            <pc:sldMk cId="1700925479" sldId="2147470201"/>
            <ac:spMk id="6" creationId="{AFD0FE81-0205-C5BF-0CF6-80A376CCA757}"/>
          </ac:spMkLst>
        </pc:spChg>
        <pc:spChg chg="mod topLvl">
          <ac:chgData name="Persoons, Mathias" userId="441499e7-dba7-4c31-965e-cd23754bcc13" providerId="ADAL" clId="{1426C7AD-FF65-40BC-8F45-13352AF4A21C}" dt="2023-06-24T11:03:37.439" v="8169" actId="12788"/>
          <ac:spMkLst>
            <pc:docMk/>
            <pc:sldMk cId="1700925479" sldId="2147470201"/>
            <ac:spMk id="7" creationId="{9F21ECC8-92EC-8844-15C1-2E71C0F660E6}"/>
          </ac:spMkLst>
        </pc:spChg>
        <pc:spChg chg="mod topLvl">
          <ac:chgData name="Persoons, Mathias" userId="441499e7-dba7-4c31-965e-cd23754bcc13" providerId="ADAL" clId="{1426C7AD-FF65-40BC-8F45-13352AF4A21C}" dt="2023-06-24T11:03:38.258" v="8171" actId="1076"/>
          <ac:spMkLst>
            <pc:docMk/>
            <pc:sldMk cId="1700925479" sldId="2147470201"/>
            <ac:spMk id="11" creationId="{3C487AA9-C339-9B72-5A4C-C946398A8ABB}"/>
          </ac:spMkLst>
        </pc:spChg>
        <pc:spChg chg="mod">
          <ac:chgData name="Persoons, Mathias" userId="441499e7-dba7-4c31-965e-cd23754bcc13" providerId="ADAL" clId="{1426C7AD-FF65-40BC-8F45-13352AF4A21C}" dt="2023-06-14T14:11:13.084" v="2891" actId="13822"/>
          <ac:spMkLst>
            <pc:docMk/>
            <pc:sldMk cId="1700925479" sldId="2147470201"/>
            <ac:spMk id="12" creationId="{AA5A0CE0-097F-D8E4-D83C-B6919919E2D0}"/>
          </ac:spMkLst>
        </pc:spChg>
        <pc:spChg chg="add del mod">
          <ac:chgData name="Persoons, Mathias" userId="441499e7-dba7-4c31-965e-cd23754bcc13" providerId="ADAL" clId="{1426C7AD-FF65-40BC-8F45-13352AF4A21C}" dt="2023-06-14T14:10:50.267" v="2890"/>
          <ac:spMkLst>
            <pc:docMk/>
            <pc:sldMk cId="1700925479" sldId="2147470201"/>
            <ac:spMk id="14" creationId="{252D9575-8231-AA34-A89A-0DBFAFC9578C}"/>
          </ac:spMkLst>
        </pc:spChg>
        <pc:spChg chg="add mod">
          <ac:chgData name="Persoons, Mathias" userId="441499e7-dba7-4c31-965e-cd23754bcc13" providerId="ADAL" clId="{1426C7AD-FF65-40BC-8F45-13352AF4A21C}" dt="2023-06-14T14:11:35.908" v="2903" actId="1076"/>
          <ac:spMkLst>
            <pc:docMk/>
            <pc:sldMk cId="1700925479" sldId="2147470201"/>
            <ac:spMk id="15" creationId="{C9C9CC95-29BB-BA2E-BFCC-E927B82DEA59}"/>
          </ac:spMkLst>
        </pc:spChg>
        <pc:grpChg chg="add del mod">
          <ac:chgData name="Persoons, Mathias" userId="441499e7-dba7-4c31-965e-cd23754bcc13" providerId="ADAL" clId="{1426C7AD-FF65-40BC-8F45-13352AF4A21C}" dt="2023-06-20T09:37:46.125" v="4795" actId="165"/>
          <ac:grpSpMkLst>
            <pc:docMk/>
            <pc:sldMk cId="1700925479" sldId="2147470201"/>
            <ac:grpSpMk id="13" creationId="{A0648292-BA41-42FD-72E0-279D90D18522}"/>
          </ac:grpSpMkLst>
        </pc:grpChg>
        <pc:cxnChg chg="mod topLvl">
          <ac:chgData name="Persoons, Mathias" userId="441499e7-dba7-4c31-965e-cd23754bcc13" providerId="ADAL" clId="{1426C7AD-FF65-40BC-8F45-13352AF4A21C}" dt="2023-06-24T11:03:37.792" v="8170" actId="12788"/>
          <ac:cxnSpMkLst>
            <pc:docMk/>
            <pc:sldMk cId="1700925479" sldId="2147470201"/>
            <ac:cxnSpMk id="8" creationId="{C84B8794-4A97-288A-8693-16DD0DD7DA46}"/>
          </ac:cxnSpMkLst>
        </pc:cxnChg>
        <pc:cxnChg chg="mod topLvl">
          <ac:chgData name="Persoons, Mathias" userId="441499e7-dba7-4c31-965e-cd23754bcc13" providerId="ADAL" clId="{1426C7AD-FF65-40BC-8F45-13352AF4A21C}" dt="2023-06-24T11:03:37.792" v="8170" actId="12788"/>
          <ac:cxnSpMkLst>
            <pc:docMk/>
            <pc:sldMk cId="1700925479" sldId="2147470201"/>
            <ac:cxnSpMk id="9" creationId="{0D7491CE-AC6A-12DB-A464-9531A4D66811}"/>
          </ac:cxnSpMkLst>
        </pc:cxnChg>
        <pc:cxnChg chg="mod topLvl">
          <ac:chgData name="Persoons, Mathias" userId="441499e7-dba7-4c31-965e-cd23754bcc13" providerId="ADAL" clId="{1426C7AD-FF65-40BC-8F45-13352AF4A21C}" dt="2023-06-24T11:03:38.711" v="8172" actId="1076"/>
          <ac:cxnSpMkLst>
            <pc:docMk/>
            <pc:sldMk cId="1700925479" sldId="2147470201"/>
            <ac:cxnSpMk id="10" creationId="{DB5C09D9-866A-1D12-7BB6-CB234393002F}"/>
          </ac:cxnSpMkLst>
        </pc:cxnChg>
      </pc:sldChg>
      <pc:sldChg chg="addSp delSp modSp add mod modTransition setBg modNotesTx">
        <pc:chgData name="Persoons, Mathias" userId="441499e7-dba7-4c31-965e-cd23754bcc13" providerId="ADAL" clId="{1426C7AD-FF65-40BC-8F45-13352AF4A21C}" dt="2023-06-25T07:25:44.360" v="8275"/>
        <pc:sldMkLst>
          <pc:docMk/>
          <pc:sldMk cId="1473440622" sldId="2147470202"/>
        </pc:sldMkLst>
        <pc:spChg chg="mod">
          <ac:chgData name="Persoons, Mathias" userId="441499e7-dba7-4c31-965e-cd23754bcc13" providerId="ADAL" clId="{1426C7AD-FF65-40BC-8F45-13352AF4A21C}" dt="2023-06-14T14:27:28.699" v="2929" actId="113"/>
          <ac:spMkLst>
            <pc:docMk/>
            <pc:sldMk cId="1473440622" sldId="2147470202"/>
            <ac:spMk id="3" creationId="{DED6D111-87BE-2113-CC3B-46BB4A442314}"/>
          </ac:spMkLst>
        </pc:spChg>
        <pc:spChg chg="mod">
          <ac:chgData name="Persoons, Mathias" userId="441499e7-dba7-4c31-965e-cd23754bcc13" providerId="ADAL" clId="{1426C7AD-FF65-40BC-8F45-13352AF4A21C}" dt="2023-06-14T14:31:00.350" v="2954" actId="1076"/>
          <ac:spMkLst>
            <pc:docMk/>
            <pc:sldMk cId="1473440622" sldId="2147470202"/>
            <ac:spMk id="5" creationId="{C409A5C5-071F-142E-7D75-BCC1672F721A}"/>
          </ac:spMkLst>
        </pc:spChg>
        <pc:picChg chg="add del mod ord">
          <ac:chgData name="Persoons, Mathias" userId="441499e7-dba7-4c31-965e-cd23754bcc13" providerId="ADAL" clId="{1426C7AD-FF65-40BC-8F45-13352AF4A21C}" dt="2023-06-14T14:25:16.403" v="2919" actId="21"/>
          <ac:picMkLst>
            <pc:docMk/>
            <pc:sldMk cId="1473440622" sldId="2147470202"/>
            <ac:picMk id="4" creationId="{18D8FCE2-04F8-E93D-CB73-EC48CE4DFBD8}"/>
          </ac:picMkLst>
        </pc:picChg>
        <pc:picChg chg="add mod ord modCrop">
          <ac:chgData name="Persoons, Mathias" userId="441499e7-dba7-4c31-965e-cd23754bcc13" providerId="ADAL" clId="{1426C7AD-FF65-40BC-8F45-13352AF4A21C}" dt="2023-06-14T14:30:13.251" v="2946" actId="34135"/>
          <ac:picMkLst>
            <pc:docMk/>
            <pc:sldMk cId="1473440622" sldId="2147470202"/>
            <ac:picMk id="6" creationId="{875568CF-7641-2325-9FCE-701567983BDD}"/>
          </ac:picMkLst>
        </pc:picChg>
        <pc:picChg chg="add mod ord">
          <ac:chgData name="Persoons, Mathias" userId="441499e7-dba7-4c31-965e-cd23754bcc13" providerId="ADAL" clId="{1426C7AD-FF65-40BC-8F45-13352AF4A21C}" dt="2023-06-14T14:30:34.601" v="2950" actId="171"/>
          <ac:picMkLst>
            <pc:docMk/>
            <pc:sldMk cId="1473440622" sldId="2147470202"/>
            <ac:picMk id="12" creationId="{D991B3FA-B097-61FC-E008-C6A32FD8A3DC}"/>
          </ac:picMkLst>
        </pc:picChg>
        <pc:picChg chg="mod">
          <ac:chgData name="Persoons, Mathias" userId="441499e7-dba7-4c31-965e-cd23754bcc13" providerId="ADAL" clId="{1426C7AD-FF65-40BC-8F45-13352AF4A21C}" dt="2023-06-21T07:50:24.548" v="8117" actId="1076"/>
          <ac:picMkLst>
            <pc:docMk/>
            <pc:sldMk cId="1473440622" sldId="2147470202"/>
            <ac:picMk id="43010" creationId="{2389B263-00B3-B8EC-BA71-C3FBB42BCA9E}"/>
          </ac:picMkLst>
        </pc:picChg>
      </pc:sldChg>
      <pc:sldChg chg="del modTransition">
        <pc:chgData name="Persoons, Mathias" userId="441499e7-dba7-4c31-965e-cd23754bcc13" providerId="ADAL" clId="{1426C7AD-FF65-40BC-8F45-13352AF4A21C}" dt="2023-06-25T11:04:12.561" v="14263" actId="47"/>
        <pc:sldMkLst>
          <pc:docMk/>
          <pc:sldMk cId="3201401455" sldId="2147470203"/>
        </pc:sldMkLst>
      </pc:sldChg>
      <pc:sldChg chg="del modTransition">
        <pc:chgData name="Persoons, Mathias" userId="441499e7-dba7-4c31-965e-cd23754bcc13" providerId="ADAL" clId="{1426C7AD-FF65-40BC-8F45-13352AF4A21C}" dt="2023-06-25T11:09:25.173" v="14264" actId="47"/>
        <pc:sldMkLst>
          <pc:docMk/>
          <pc:sldMk cId="1760673469" sldId="2147470204"/>
        </pc:sldMkLst>
      </pc:sldChg>
      <pc:sldChg chg="addSp delSp modSp add del mod setBg">
        <pc:chgData name="Persoons, Mathias" userId="441499e7-dba7-4c31-965e-cd23754bcc13" providerId="ADAL" clId="{1426C7AD-FF65-40BC-8F45-13352AF4A21C}" dt="2023-06-20T08:51:58.925" v="3513" actId="47"/>
        <pc:sldMkLst>
          <pc:docMk/>
          <pc:sldMk cId="1043804643" sldId="2147470205"/>
        </pc:sldMkLst>
        <pc:spChg chg="add del mod">
          <ac:chgData name="Persoons, Mathias" userId="441499e7-dba7-4c31-965e-cd23754bcc13" providerId="ADAL" clId="{1426C7AD-FF65-40BC-8F45-13352AF4A21C}" dt="2023-06-20T08:42:25.932" v="3489" actId="478"/>
          <ac:spMkLst>
            <pc:docMk/>
            <pc:sldMk cId="1043804643" sldId="2147470205"/>
            <ac:spMk id="5" creationId="{594CEAD7-D275-15BD-45C5-07B113C59E71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6" creationId="{18C0C907-5E69-2359-61F7-A946CCB18020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7" creationId="{8B3C7CFD-5AEC-DE19-1CAF-5A8A25CABF97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9" creationId="{F9810B09-E833-71F6-A45C-0CEFC7276933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0" creationId="{A97B15F2-2984-5169-E0E5-B9BECF2184B0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1" creationId="{9462F5E7-81B7-70E4-465B-7E6A0A0FF298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2" creationId="{10E2E1E7-A457-F443-1F07-A6F35B396AF1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3" creationId="{2C8FAAC5-4595-0D9E-FAE3-DEF30C622C5C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4" creationId="{E8A55025-D9EC-0C81-18D3-C395B7A20CDF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5" creationId="{6C7DFEDD-495F-5D75-EA5B-0E6EF7C31B19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6" creationId="{1B97DCA8-0843-5940-0FD7-8CCF219730E7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7" creationId="{B46DA222-8692-8B38-6ECF-096BA12F5FCC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8" creationId="{A11F03AB-D60F-3EF4-9882-E77A7AF62A33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19" creationId="{1F3042B9-AC15-4754-4364-456FAF984FE3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0" creationId="{F7E73FCF-12A1-7622-570C-A1D96F9C270B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1" creationId="{45EEFFFA-7697-EEAF-A31B-1742667728A7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2" creationId="{753E9EDE-C51F-AEC3-EDD0-FF8F10A0EFEF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3" creationId="{5F868B0C-48B6-B4DA-BE2F-A7BCE560F813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4" creationId="{4A98FF2A-E6EB-23A4-E688-EFD0405E27F5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5" creationId="{955A8C67-0EA8-C84A-1054-A8E4B368AF45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6" creationId="{7E8292B8-6318-F1F5-6C35-65C126F1ADFD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7" creationId="{1709C022-B31F-A2B7-334E-8DC6A1C43E22}"/>
          </ac:spMkLst>
        </pc:spChg>
        <pc:spChg chg="mod">
          <ac:chgData name="Persoons, Mathias" userId="441499e7-dba7-4c31-965e-cd23754bcc13" providerId="ADAL" clId="{1426C7AD-FF65-40BC-8F45-13352AF4A21C}" dt="2023-06-20T08:41:53.938" v="3480"/>
          <ac:spMkLst>
            <pc:docMk/>
            <pc:sldMk cId="1043804643" sldId="2147470205"/>
            <ac:spMk id="28" creationId="{B6462198-FFC8-878A-C6A6-7FAB49F76076}"/>
          </ac:spMkLst>
        </pc:spChg>
        <pc:grpChg chg="add del mod">
          <ac:chgData name="Persoons, Mathias" userId="441499e7-dba7-4c31-965e-cd23754bcc13" providerId="ADAL" clId="{1426C7AD-FF65-40BC-8F45-13352AF4A21C}" dt="2023-06-20T08:42:28.567" v="3490" actId="478"/>
          <ac:grpSpMkLst>
            <pc:docMk/>
            <pc:sldMk cId="1043804643" sldId="2147470205"/>
            <ac:grpSpMk id="4" creationId="{06D7F476-0DD2-4D35-F53A-A9A8D09DF2F5}"/>
          </ac:grpSpMkLst>
        </pc:grpChg>
        <pc:grpChg chg="mod">
          <ac:chgData name="Persoons, Mathias" userId="441499e7-dba7-4c31-965e-cd23754bcc13" providerId="ADAL" clId="{1426C7AD-FF65-40BC-8F45-13352AF4A21C}" dt="2023-06-20T08:41:53.938" v="3480"/>
          <ac:grpSpMkLst>
            <pc:docMk/>
            <pc:sldMk cId="1043804643" sldId="2147470205"/>
            <ac:grpSpMk id="8" creationId="{0B9F672F-28B6-69A0-C872-0B721B692596}"/>
          </ac:grpSpMkLst>
        </pc:grpChg>
        <pc:picChg chg="mod">
          <ac:chgData name="Persoons, Mathias" userId="441499e7-dba7-4c31-965e-cd23754bcc13" providerId="ADAL" clId="{1426C7AD-FF65-40BC-8F45-13352AF4A21C}" dt="2023-06-20T08:43:45.309" v="3494" actId="14100"/>
          <ac:picMkLst>
            <pc:docMk/>
            <pc:sldMk cId="1043804643" sldId="2147470205"/>
            <ac:picMk id="2" creationId="{B95666DF-E198-36F3-7F80-2826C165852A}"/>
          </ac:picMkLst>
        </pc:picChg>
      </pc:sldChg>
      <pc:sldChg chg="addSp delSp modSp add del mod setBg delAnim">
        <pc:chgData name="Persoons, Mathias" userId="441499e7-dba7-4c31-965e-cd23754bcc13" providerId="ADAL" clId="{1426C7AD-FF65-40BC-8F45-13352AF4A21C}" dt="2023-06-20T08:36:20.148" v="3260" actId="47"/>
        <pc:sldMkLst>
          <pc:docMk/>
          <pc:sldMk cId="1960639070" sldId="2147470205"/>
        </pc:sldMkLst>
        <pc:spChg chg="del">
          <ac:chgData name="Persoons, Mathias" userId="441499e7-dba7-4c31-965e-cd23754bcc13" providerId="ADAL" clId="{1426C7AD-FF65-40BC-8F45-13352AF4A21C}" dt="2023-06-20T08:35:10.944" v="3251" actId="478"/>
          <ac:spMkLst>
            <pc:docMk/>
            <pc:sldMk cId="1960639070" sldId="2147470205"/>
            <ac:spMk id="4" creationId="{BB3827F7-20DC-7627-2CA8-EA3477EC677A}"/>
          </ac:spMkLst>
        </pc:spChg>
        <pc:picChg chg="add del mod">
          <ac:chgData name="Persoons, Mathias" userId="441499e7-dba7-4c31-965e-cd23754bcc13" providerId="ADAL" clId="{1426C7AD-FF65-40BC-8F45-13352AF4A21C}" dt="2023-06-20T08:35:08.301" v="3250" actId="478"/>
          <ac:picMkLst>
            <pc:docMk/>
            <pc:sldMk cId="1960639070" sldId="2147470205"/>
            <ac:picMk id="2" creationId="{B95666DF-E198-36F3-7F80-2826C165852A}"/>
          </ac:picMkLst>
        </pc:picChg>
        <pc:picChg chg="add del mod">
          <ac:chgData name="Persoons, Mathias" userId="441499e7-dba7-4c31-965e-cd23754bcc13" providerId="ADAL" clId="{1426C7AD-FF65-40BC-8F45-13352AF4A21C}" dt="2023-06-20T08:35:32.336" v="3255" actId="478"/>
          <ac:picMkLst>
            <pc:docMk/>
            <pc:sldMk cId="1960639070" sldId="2147470205"/>
            <ac:picMk id="5" creationId="{48CA000B-A913-327F-F0CE-91920C6D1FD0}"/>
          </ac:picMkLst>
        </pc:picChg>
        <pc:picChg chg="add del mod">
          <ac:chgData name="Persoons, Mathias" userId="441499e7-dba7-4c31-965e-cd23754bcc13" providerId="ADAL" clId="{1426C7AD-FF65-40BC-8F45-13352AF4A21C}" dt="2023-06-20T08:36:07.527" v="3259" actId="478"/>
          <ac:picMkLst>
            <pc:docMk/>
            <pc:sldMk cId="1960639070" sldId="2147470205"/>
            <ac:picMk id="6" creationId="{82E4CD12-5CF5-F2A8-5585-B410C7CB860D}"/>
          </ac:picMkLst>
        </pc:picChg>
      </pc:sldChg>
      <pc:sldChg chg="delSp modSp new del mod">
        <pc:chgData name="Persoons, Mathias" userId="441499e7-dba7-4c31-965e-cd23754bcc13" providerId="ADAL" clId="{1426C7AD-FF65-40BC-8F45-13352AF4A21C}" dt="2023-06-24T11:15:31.623" v="8190" actId="47"/>
        <pc:sldMkLst>
          <pc:docMk/>
          <pc:sldMk cId="2201326698" sldId="2147470205"/>
        </pc:sldMkLst>
        <pc:spChg chg="mod">
          <ac:chgData name="Persoons, Mathias" userId="441499e7-dba7-4c31-965e-cd23754bcc13" providerId="ADAL" clId="{1426C7AD-FF65-40BC-8F45-13352AF4A21C}" dt="2023-06-20T10:52:53.524" v="5081" actId="20577"/>
          <ac:spMkLst>
            <pc:docMk/>
            <pc:sldMk cId="2201326698" sldId="2147470205"/>
            <ac:spMk id="2" creationId="{598F0C5C-FA84-6538-1F23-205C6A0A0DEB}"/>
          </ac:spMkLst>
        </pc:spChg>
        <pc:spChg chg="del">
          <ac:chgData name="Persoons, Mathias" userId="441499e7-dba7-4c31-965e-cd23754bcc13" providerId="ADAL" clId="{1426C7AD-FF65-40BC-8F45-13352AF4A21C}" dt="2023-06-24T11:15:29.958" v="8189" actId="478"/>
          <ac:spMkLst>
            <pc:docMk/>
            <pc:sldMk cId="2201326698" sldId="2147470205"/>
            <ac:spMk id="3" creationId="{B95C5F66-11EB-2A8C-C828-EC83434C0A3C}"/>
          </ac:spMkLst>
        </pc:spChg>
        <pc:spChg chg="del">
          <ac:chgData name="Persoons, Mathias" userId="441499e7-dba7-4c31-965e-cd23754bcc13" providerId="ADAL" clId="{1426C7AD-FF65-40BC-8F45-13352AF4A21C}" dt="2023-06-21T13:22:23.090" v="8135" actId="478"/>
          <ac:spMkLst>
            <pc:docMk/>
            <pc:sldMk cId="2201326698" sldId="2147470205"/>
            <ac:spMk id="4" creationId="{316C7823-91FB-B118-A00B-35C1D0AB3A74}"/>
          </ac:spMkLst>
        </pc:spChg>
      </pc:sldChg>
      <pc:sldChg chg="addSp delSp modSp add mod modTransition setBg delAnim modAnim modNotesTx">
        <pc:chgData name="Persoons, Mathias" userId="441499e7-dba7-4c31-965e-cd23754bcc13" providerId="ADAL" clId="{1426C7AD-FF65-40BC-8F45-13352AF4A21C}" dt="2023-06-25T07:25:44.360" v="8275"/>
        <pc:sldMkLst>
          <pc:docMk/>
          <pc:sldMk cId="345545217" sldId="2147470206"/>
        </pc:sldMkLst>
        <pc:spChg chg="mod">
          <ac:chgData name="Persoons, Mathias" userId="441499e7-dba7-4c31-965e-cd23754bcc13" providerId="ADAL" clId="{1426C7AD-FF65-40BC-8F45-13352AF4A21C}" dt="2023-06-20T13:11:52.184" v="6332" actId="1076"/>
          <ac:spMkLst>
            <pc:docMk/>
            <pc:sldMk cId="345545217" sldId="2147470206"/>
            <ac:spMk id="3" creationId="{F3A6EB3F-90EB-D701-8B69-627704380B77}"/>
          </ac:spMkLst>
        </pc:spChg>
        <pc:picChg chg="del">
          <ac:chgData name="Persoons, Mathias" userId="441499e7-dba7-4c31-965e-cd23754bcc13" providerId="ADAL" clId="{1426C7AD-FF65-40BC-8F45-13352AF4A21C}" dt="2023-06-20T10:54:15.516" v="5089" actId="478"/>
          <ac:picMkLst>
            <pc:docMk/>
            <pc:sldMk cId="345545217" sldId="2147470206"/>
            <ac:picMk id="2" creationId="{B95666DF-E198-36F3-7F80-2826C165852A}"/>
          </ac:picMkLst>
        </pc:picChg>
        <pc:picChg chg="add mod">
          <ac:chgData name="Persoons, Mathias" userId="441499e7-dba7-4c31-965e-cd23754bcc13" providerId="ADAL" clId="{1426C7AD-FF65-40BC-8F45-13352AF4A21C}" dt="2023-06-20T10:54:51.933" v="5160"/>
          <ac:picMkLst>
            <pc:docMk/>
            <pc:sldMk cId="345545217" sldId="2147470206"/>
            <ac:picMk id="4" creationId="{9139E7F2-D0C4-DB4F-F44D-07447F15ADF4}"/>
          </ac:picMkLst>
        </pc:picChg>
        <pc:picChg chg="del mod">
          <ac:chgData name="Persoons, Mathias" userId="441499e7-dba7-4c31-965e-cd23754bcc13" providerId="ADAL" clId="{1426C7AD-FF65-40BC-8F45-13352AF4A21C}" dt="2023-06-20T10:54:19.208" v="5091" actId="478"/>
          <ac:picMkLst>
            <pc:docMk/>
            <pc:sldMk cId="345545217" sldId="2147470206"/>
            <ac:picMk id="7" creationId="{06653C54-BEC7-A23F-84F6-E6E212F5699B}"/>
          </ac:picMkLst>
        </pc:picChg>
      </pc:sldChg>
      <pc:sldChg chg="add del">
        <pc:chgData name="Persoons, Mathias" userId="441499e7-dba7-4c31-965e-cd23754bcc13" providerId="ADAL" clId="{1426C7AD-FF65-40BC-8F45-13352AF4A21C}" dt="2023-06-20T10:53:41.190" v="5085"/>
        <pc:sldMkLst>
          <pc:docMk/>
          <pc:sldMk cId="3287853785" sldId="2147470206"/>
        </pc:sldMkLst>
      </pc:sldChg>
      <pc:sldChg chg="modTransition">
        <pc:chgData name="Persoons, Mathias" userId="441499e7-dba7-4c31-965e-cd23754bcc13" providerId="ADAL" clId="{1426C7AD-FF65-40BC-8F45-13352AF4A21C}" dt="2023-06-25T07:25:44.360" v="8275"/>
        <pc:sldMkLst>
          <pc:docMk/>
          <pc:sldMk cId="308267619" sldId="2147470207"/>
        </pc:sldMkLst>
      </pc:sldChg>
      <pc:sldChg chg="addSp delSp new mod modTransition modShow">
        <pc:chgData name="Persoons, Mathias" userId="441499e7-dba7-4c31-965e-cd23754bcc13" providerId="ADAL" clId="{1426C7AD-FF65-40BC-8F45-13352AF4A21C}" dt="2023-06-25T07:25:44.360" v="8275"/>
        <pc:sldMkLst>
          <pc:docMk/>
          <pc:sldMk cId="1336396994" sldId="2147470208"/>
        </pc:sldMkLst>
        <pc:spChg chg="del">
          <ac:chgData name="Persoons, Mathias" userId="441499e7-dba7-4c31-965e-cd23754bcc13" providerId="ADAL" clId="{1426C7AD-FF65-40BC-8F45-13352AF4A21C}" dt="2023-06-24T11:08:40.088" v="8176" actId="478"/>
          <ac:spMkLst>
            <pc:docMk/>
            <pc:sldMk cId="1336396994" sldId="2147470208"/>
            <ac:spMk id="2" creationId="{9F280787-80EA-22FB-69A9-ACE35A568D62}"/>
          </ac:spMkLst>
        </pc:spChg>
        <pc:spChg chg="del">
          <ac:chgData name="Persoons, Mathias" userId="441499e7-dba7-4c31-965e-cd23754bcc13" providerId="ADAL" clId="{1426C7AD-FF65-40BC-8F45-13352AF4A21C}" dt="2023-06-24T11:08:37.267" v="8175" actId="478"/>
          <ac:spMkLst>
            <pc:docMk/>
            <pc:sldMk cId="1336396994" sldId="2147470208"/>
            <ac:spMk id="3" creationId="{98839AFC-048C-84A2-0F3E-DBB32DD0B34C}"/>
          </ac:spMkLst>
        </pc:spChg>
        <pc:picChg chg="add">
          <ac:chgData name="Persoons, Mathias" userId="441499e7-dba7-4c31-965e-cd23754bcc13" providerId="ADAL" clId="{1426C7AD-FF65-40BC-8F45-13352AF4A21C}" dt="2023-06-24T11:09:27.729" v="8177" actId="22"/>
          <ac:picMkLst>
            <pc:docMk/>
            <pc:sldMk cId="1336396994" sldId="2147470208"/>
            <ac:picMk id="6" creationId="{A115F86F-A6F5-7552-0E80-DBD16378D321}"/>
          </ac:picMkLst>
        </pc:picChg>
      </pc:sldChg>
      <pc:sldChg chg="addSp delSp new mod modTransition modShow">
        <pc:chgData name="Persoons, Mathias" userId="441499e7-dba7-4c31-965e-cd23754bcc13" providerId="ADAL" clId="{1426C7AD-FF65-40BC-8F45-13352AF4A21C}" dt="2023-06-26T17:44:29.315" v="15182" actId="729"/>
        <pc:sldMkLst>
          <pc:docMk/>
          <pc:sldMk cId="1354206791" sldId="2147470209"/>
        </pc:sldMkLst>
        <pc:spChg chg="del">
          <ac:chgData name="Persoons, Mathias" userId="441499e7-dba7-4c31-965e-cd23754bcc13" providerId="ADAL" clId="{1426C7AD-FF65-40BC-8F45-13352AF4A21C}" dt="2023-06-24T11:10:00.787" v="8183" actId="478"/>
          <ac:spMkLst>
            <pc:docMk/>
            <pc:sldMk cId="1354206791" sldId="2147470209"/>
            <ac:spMk id="2" creationId="{5D737244-F788-5634-136C-07B8B3DCF655}"/>
          </ac:spMkLst>
        </pc:spChg>
        <pc:spChg chg="del">
          <ac:chgData name="Persoons, Mathias" userId="441499e7-dba7-4c31-965e-cd23754bcc13" providerId="ADAL" clId="{1426C7AD-FF65-40BC-8F45-13352AF4A21C}" dt="2023-06-24T11:09:59.882" v="8182" actId="478"/>
          <ac:spMkLst>
            <pc:docMk/>
            <pc:sldMk cId="1354206791" sldId="2147470209"/>
            <ac:spMk id="3" creationId="{05A74DDF-DB8E-846C-9FC2-610E098350F8}"/>
          </ac:spMkLst>
        </pc:spChg>
        <pc:picChg chg="add">
          <ac:chgData name="Persoons, Mathias" userId="441499e7-dba7-4c31-965e-cd23754bcc13" providerId="ADAL" clId="{1426C7AD-FF65-40BC-8F45-13352AF4A21C}" dt="2023-06-24T11:10:01.604" v="8184" actId="22"/>
          <ac:picMkLst>
            <pc:docMk/>
            <pc:sldMk cId="1354206791" sldId="2147470209"/>
            <ac:picMk id="6" creationId="{FFBBBABA-8B18-B25C-CA69-B1A12C41900F}"/>
          </ac:picMkLst>
        </pc:picChg>
      </pc:sldChg>
      <pc:sldChg chg="addSp delSp new mod modTransition modShow">
        <pc:chgData name="Persoons, Mathias" userId="441499e7-dba7-4c31-965e-cd23754bcc13" providerId="ADAL" clId="{1426C7AD-FF65-40BC-8F45-13352AF4A21C}" dt="2023-06-26T17:44:33.072" v="15183" actId="729"/>
        <pc:sldMkLst>
          <pc:docMk/>
          <pc:sldMk cId="3975676114" sldId="2147470210"/>
        </pc:sldMkLst>
        <pc:spChg chg="del">
          <ac:chgData name="Persoons, Mathias" userId="441499e7-dba7-4c31-965e-cd23754bcc13" providerId="ADAL" clId="{1426C7AD-FF65-40BC-8F45-13352AF4A21C}" dt="2023-06-24T11:09:54.746" v="8180" actId="478"/>
          <ac:spMkLst>
            <pc:docMk/>
            <pc:sldMk cId="3975676114" sldId="2147470210"/>
            <ac:spMk id="2" creationId="{F26EED61-01E7-D42E-322B-C70756DF5F0E}"/>
          </ac:spMkLst>
        </pc:spChg>
        <pc:spChg chg="del">
          <ac:chgData name="Persoons, Mathias" userId="441499e7-dba7-4c31-965e-cd23754bcc13" providerId="ADAL" clId="{1426C7AD-FF65-40BC-8F45-13352AF4A21C}" dt="2023-06-24T11:09:55.801" v="8181" actId="478"/>
          <ac:spMkLst>
            <pc:docMk/>
            <pc:sldMk cId="3975676114" sldId="2147470210"/>
            <ac:spMk id="3" creationId="{B3AEFA4F-5FDD-1ABA-64F0-9B13F6D13AB0}"/>
          </ac:spMkLst>
        </pc:spChg>
        <pc:picChg chg="add">
          <ac:chgData name="Persoons, Mathias" userId="441499e7-dba7-4c31-965e-cd23754bcc13" providerId="ADAL" clId="{1426C7AD-FF65-40BC-8F45-13352AF4A21C}" dt="2023-06-24T11:11:47.827" v="8185" actId="22"/>
          <ac:picMkLst>
            <pc:docMk/>
            <pc:sldMk cId="3975676114" sldId="2147470210"/>
            <ac:picMk id="6" creationId="{C09506EC-3ED6-0613-B348-CB7289047B27}"/>
          </ac:picMkLst>
        </pc:picChg>
      </pc:sldChg>
      <pc:sldChg chg="addSp modSp add mod modTransition modAnim">
        <pc:chgData name="Persoons, Mathias" userId="441499e7-dba7-4c31-965e-cd23754bcc13" providerId="ADAL" clId="{1426C7AD-FF65-40BC-8F45-13352AF4A21C}" dt="2023-06-25T07:25:44.360" v="8275"/>
        <pc:sldMkLst>
          <pc:docMk/>
          <pc:sldMk cId="1652554159" sldId="2147470211"/>
        </pc:sldMkLst>
        <pc:spChg chg="add mod ord">
          <ac:chgData name="Persoons, Mathias" userId="441499e7-dba7-4c31-965e-cd23754bcc13" providerId="ADAL" clId="{1426C7AD-FF65-40BC-8F45-13352AF4A21C}" dt="2023-06-24T11:19:38.084" v="8257" actId="171"/>
          <ac:spMkLst>
            <pc:docMk/>
            <pc:sldMk cId="1652554159" sldId="2147470211"/>
            <ac:spMk id="3" creationId="{1B4F87DB-98FE-09F9-DE8E-DF198F31319A}"/>
          </ac:spMkLst>
        </pc:spChg>
        <pc:spChg chg="add mod">
          <ac:chgData name="Persoons, Mathias" userId="441499e7-dba7-4c31-965e-cd23754bcc13" providerId="ADAL" clId="{1426C7AD-FF65-40BC-8F45-13352AF4A21C}" dt="2023-06-24T11:18:41.435" v="8253" actId="1076"/>
          <ac:spMkLst>
            <pc:docMk/>
            <pc:sldMk cId="1652554159" sldId="2147470211"/>
            <ac:spMk id="4" creationId="{0AB388E0-69DC-40FD-956A-16400BF60A1C}"/>
          </ac:spMkLst>
        </pc:spChg>
      </pc:sldChg>
      <pc:sldChg chg="modSp add del modAnim">
        <pc:chgData name="Persoons, Mathias" userId="441499e7-dba7-4c31-965e-cd23754bcc13" providerId="ADAL" clId="{1426C7AD-FF65-40BC-8F45-13352AF4A21C}" dt="2023-06-25T14:13:47.816" v="14502" actId="47"/>
        <pc:sldMkLst>
          <pc:docMk/>
          <pc:sldMk cId="4172329319" sldId="2147470212"/>
        </pc:sldMkLst>
        <pc:graphicFrameChg chg="mod">
          <ac:chgData name="Persoons, Mathias" userId="441499e7-dba7-4c31-965e-cd23754bcc13" providerId="ADAL" clId="{1426C7AD-FF65-40BC-8F45-13352AF4A21C}" dt="2023-06-25T13:46:05.931" v="14456" actId="478"/>
          <ac:graphicFrameMkLst>
            <pc:docMk/>
            <pc:sldMk cId="4172329319" sldId="2147470212"/>
            <ac:graphicFrameMk id="6" creationId="{99A218E3-AD69-10F0-74A9-E22A05F2DD13}"/>
          </ac:graphicFrameMkLst>
        </pc:graphicFrameChg>
      </pc:sldChg>
      <pc:sldChg chg="addSp delSp add del mod ord addAnim delAnim">
        <pc:chgData name="Persoons, Mathias" userId="441499e7-dba7-4c31-965e-cd23754bcc13" providerId="ADAL" clId="{1426C7AD-FF65-40BC-8F45-13352AF4A21C}" dt="2023-06-25T15:38:53.539" v="14678" actId="47"/>
        <pc:sldMkLst>
          <pc:docMk/>
          <pc:sldMk cId="1023694864" sldId="2147470213"/>
        </pc:sldMkLst>
        <pc:picChg chg="add del">
          <ac:chgData name="Persoons, Mathias" userId="441499e7-dba7-4c31-965e-cd23754bcc13" providerId="ADAL" clId="{1426C7AD-FF65-40BC-8F45-13352AF4A21C}" dt="2023-06-25T14:22:48.629" v="14556" actId="478"/>
          <ac:picMkLst>
            <pc:docMk/>
            <pc:sldMk cId="1023694864" sldId="2147470213"/>
            <ac:picMk id="7" creationId="{164D88BE-C0AA-6559-6EE1-073324C540C1}"/>
          </ac:picMkLst>
        </pc:picChg>
        <pc:picChg chg="del">
          <ac:chgData name="Persoons, Mathias" userId="441499e7-dba7-4c31-965e-cd23754bcc13" providerId="ADAL" clId="{1426C7AD-FF65-40BC-8F45-13352AF4A21C}" dt="2023-06-25T14:22:50.233" v="14557" actId="21"/>
          <ac:picMkLst>
            <pc:docMk/>
            <pc:sldMk cId="1023694864" sldId="2147470213"/>
            <ac:picMk id="9" creationId="{C9ACA21F-182E-BE50-69B3-392BFF1C4989}"/>
          </ac:picMkLst>
        </pc:picChg>
        <pc:picChg chg="del">
          <ac:chgData name="Persoons, Mathias" userId="441499e7-dba7-4c31-965e-cd23754bcc13" providerId="ADAL" clId="{1426C7AD-FF65-40BC-8F45-13352AF4A21C}" dt="2023-06-25T14:52:06.228" v="14613" actId="21"/>
          <ac:picMkLst>
            <pc:docMk/>
            <pc:sldMk cId="1023694864" sldId="2147470213"/>
            <ac:picMk id="13" creationId="{25B42AE8-7BA9-628A-D95E-212715293CFD}"/>
          </ac:picMkLst>
        </pc:picChg>
        <pc:picChg chg="del">
          <ac:chgData name="Persoons, Mathias" userId="441499e7-dba7-4c31-965e-cd23754bcc13" providerId="ADAL" clId="{1426C7AD-FF65-40BC-8F45-13352AF4A21C}" dt="2023-06-25T15:38:51.866" v="14677" actId="478"/>
          <ac:picMkLst>
            <pc:docMk/>
            <pc:sldMk cId="1023694864" sldId="2147470213"/>
            <ac:picMk id="15" creationId="{7E771438-6543-43CC-44DA-19FC139091A6}"/>
          </ac:picMkLst>
        </pc:picChg>
      </pc:sldChg>
      <pc:sldChg chg="modSp add del mod ord modAnim">
        <pc:chgData name="Persoons, Mathias" userId="441499e7-dba7-4c31-965e-cd23754bcc13" providerId="ADAL" clId="{1426C7AD-FF65-40BC-8F45-13352AF4A21C}" dt="2023-06-25T20:42:56.065" v="14800" actId="47"/>
        <pc:sldMkLst>
          <pc:docMk/>
          <pc:sldMk cId="3708113709" sldId="2147470214"/>
        </pc:sldMkLst>
        <pc:graphicFrameChg chg="mod modGraphic">
          <ac:chgData name="Persoons, Mathias" userId="441499e7-dba7-4c31-965e-cd23754bcc13" providerId="ADAL" clId="{1426C7AD-FF65-40BC-8F45-13352AF4A21C}" dt="2023-06-25T14:23:52.423" v="14570"/>
          <ac:graphicFrameMkLst>
            <pc:docMk/>
            <pc:sldMk cId="3708113709" sldId="2147470214"/>
            <ac:graphicFrameMk id="6" creationId="{99A218E3-AD69-10F0-74A9-E22A05F2DD13}"/>
          </ac:graphicFrameMkLst>
        </pc:graphicFrameChg>
      </pc:sldChg>
      <pc:sldChg chg="addSp delSp modSp add del mod ord addAnim delAnim">
        <pc:chgData name="Persoons, Mathias" userId="441499e7-dba7-4c31-965e-cd23754bcc13" providerId="ADAL" clId="{1426C7AD-FF65-40BC-8F45-13352AF4A21C}" dt="2023-06-25T14:12:49.807" v="14495"/>
        <pc:sldMkLst>
          <pc:docMk/>
          <pc:sldMk cId="1412088681" sldId="2147470215"/>
        </pc:sldMkLst>
        <pc:picChg chg="mod">
          <ac:chgData name="Persoons, Mathias" userId="441499e7-dba7-4c31-965e-cd23754bcc13" providerId="ADAL" clId="{1426C7AD-FF65-40BC-8F45-13352AF4A21C}" dt="2023-06-25T14:12:48.284" v="14490" actId="1076"/>
          <ac:picMkLst>
            <pc:docMk/>
            <pc:sldMk cId="1412088681" sldId="2147470215"/>
            <ac:picMk id="9" creationId="{C9ACA21F-182E-BE50-69B3-392BFF1C4989}"/>
          </ac:picMkLst>
        </pc:picChg>
        <pc:picChg chg="add del">
          <ac:chgData name="Persoons, Mathias" userId="441499e7-dba7-4c31-965e-cd23754bcc13" providerId="ADAL" clId="{1426C7AD-FF65-40BC-8F45-13352AF4A21C}" dt="2023-06-25T14:12:49.503" v="14494" actId="478"/>
          <ac:picMkLst>
            <pc:docMk/>
            <pc:sldMk cId="1412088681" sldId="2147470215"/>
            <ac:picMk id="13" creationId="{25B42AE8-7BA9-628A-D95E-212715293CFD}"/>
          </ac:picMkLst>
        </pc:picChg>
        <pc:picChg chg="add del">
          <ac:chgData name="Persoons, Mathias" userId="441499e7-dba7-4c31-965e-cd23754bcc13" providerId="ADAL" clId="{1426C7AD-FF65-40BC-8F45-13352AF4A21C}" dt="2023-06-25T14:12:49.143" v="14493" actId="478"/>
          <ac:picMkLst>
            <pc:docMk/>
            <pc:sldMk cId="1412088681" sldId="2147470215"/>
            <ac:picMk id="15" creationId="{7E771438-6543-43CC-44DA-19FC139091A6}"/>
          </ac:picMkLst>
        </pc:picChg>
      </pc:sldChg>
      <pc:sldChg chg="modSp add del mod modAnim">
        <pc:chgData name="Persoons, Mathias" userId="441499e7-dba7-4c31-965e-cd23754bcc13" providerId="ADAL" clId="{1426C7AD-FF65-40BC-8F45-13352AF4A21C}" dt="2023-06-25T20:43:11.233" v="14804" actId="47"/>
        <pc:sldMkLst>
          <pc:docMk/>
          <pc:sldMk cId="1604396938" sldId="2147470215"/>
        </pc:sldMkLst>
        <pc:graphicFrameChg chg="mod modGraphic">
          <ac:chgData name="Persoons, Mathias" userId="441499e7-dba7-4c31-965e-cd23754bcc13" providerId="ADAL" clId="{1426C7AD-FF65-40BC-8F45-13352AF4A21C}" dt="2023-06-25T14:25:12.336" v="14581" actId="404"/>
          <ac:graphicFrameMkLst>
            <pc:docMk/>
            <pc:sldMk cId="1604396938" sldId="2147470215"/>
            <ac:graphicFrameMk id="6" creationId="{99A218E3-AD69-10F0-74A9-E22A05F2DD13}"/>
          </ac:graphicFrameMkLst>
        </pc:graphicFrameChg>
      </pc:sldChg>
      <pc:sldChg chg="modSp add del mod modAnim">
        <pc:chgData name="Persoons, Mathias" userId="441499e7-dba7-4c31-965e-cd23754bcc13" providerId="ADAL" clId="{1426C7AD-FF65-40BC-8F45-13352AF4A21C}" dt="2023-06-25T20:43:31.378" v="14809" actId="47"/>
        <pc:sldMkLst>
          <pc:docMk/>
          <pc:sldMk cId="779137082" sldId="2147470216"/>
        </pc:sldMkLst>
        <pc:graphicFrameChg chg="mod modGraphic">
          <ac:chgData name="Persoons, Mathias" userId="441499e7-dba7-4c31-965e-cd23754bcc13" providerId="ADAL" clId="{1426C7AD-FF65-40BC-8F45-13352AF4A21C}" dt="2023-06-25T14:51:55.806" v="14612"/>
          <ac:graphicFrameMkLst>
            <pc:docMk/>
            <pc:sldMk cId="779137082" sldId="2147470216"/>
            <ac:graphicFrameMk id="6" creationId="{99A218E3-AD69-10F0-74A9-E22A05F2DD13}"/>
          </ac:graphicFrameMkLst>
        </pc:graphicFrameChg>
      </pc:sldChg>
      <pc:sldChg chg="modSp add del mod modAnim">
        <pc:chgData name="Persoons, Mathias" userId="441499e7-dba7-4c31-965e-cd23754bcc13" providerId="ADAL" clId="{1426C7AD-FF65-40BC-8F45-13352AF4A21C}" dt="2023-06-25T20:45:57.525" v="14853" actId="47"/>
        <pc:sldMkLst>
          <pc:docMk/>
          <pc:sldMk cId="294065441" sldId="2147470217"/>
        </pc:sldMkLst>
        <pc:graphicFrameChg chg="mod modGraphic">
          <ac:chgData name="Persoons, Mathias" userId="441499e7-dba7-4c31-965e-cd23754bcc13" providerId="ADAL" clId="{1426C7AD-FF65-40BC-8F45-13352AF4A21C}" dt="2023-06-25T14:58:45.072" v="14653" actId="404"/>
          <ac:graphicFrameMkLst>
            <pc:docMk/>
            <pc:sldMk cId="294065441" sldId="2147470217"/>
            <ac:graphicFrameMk id="6" creationId="{99A218E3-AD69-10F0-74A9-E22A05F2DD13}"/>
          </ac:graphicFrameMkLst>
        </pc:graphicFrameChg>
      </pc:sldChg>
      <pc:sldChg chg="modSp add del modAnim">
        <pc:chgData name="Persoons, Mathias" userId="441499e7-dba7-4c31-965e-cd23754bcc13" providerId="ADAL" clId="{1426C7AD-FF65-40BC-8F45-13352AF4A21C}" dt="2023-06-25T20:46:57.680" v="14864" actId="47"/>
        <pc:sldMkLst>
          <pc:docMk/>
          <pc:sldMk cId="1915519578" sldId="2147470218"/>
        </pc:sldMkLst>
        <pc:graphicFrameChg chg="mod">
          <ac:chgData name="Persoons, Mathias" userId="441499e7-dba7-4c31-965e-cd23754bcc13" providerId="ADAL" clId="{1426C7AD-FF65-40BC-8F45-13352AF4A21C}" dt="2023-06-25T15:36:09.945" v="14660" actId="478"/>
          <ac:graphicFrameMkLst>
            <pc:docMk/>
            <pc:sldMk cId="1915519578" sldId="2147470218"/>
            <ac:graphicFrameMk id="6" creationId="{99A218E3-AD69-10F0-74A9-E22A05F2DD13}"/>
          </ac:graphicFrameMkLst>
        </pc:graphicFrameChg>
      </pc:sldChg>
      <pc:sldChg chg="addSp modSp add mod modAnim modNotesTx">
        <pc:chgData name="Persoons, Mathias" userId="441499e7-dba7-4c31-965e-cd23754bcc13" providerId="ADAL" clId="{1426C7AD-FF65-40BC-8F45-13352AF4A21C}" dt="2023-06-26T09:15:29.274" v="15111"/>
        <pc:sldMkLst>
          <pc:docMk/>
          <pc:sldMk cId="2211365241" sldId="2147470219"/>
        </pc:sldMkLst>
        <pc:spChg chg="mod">
          <ac:chgData name="Persoons, Mathias" userId="441499e7-dba7-4c31-965e-cd23754bcc13" providerId="ADAL" clId="{1426C7AD-FF65-40BC-8F45-13352AF4A21C}" dt="2023-06-25T20:37:18.726" v="14771"/>
          <ac:spMkLst>
            <pc:docMk/>
            <pc:sldMk cId="2211365241" sldId="2147470219"/>
            <ac:spMk id="7" creationId="{55EB7D99-6B99-F096-9BE9-8B25486EE171}"/>
          </ac:spMkLst>
        </pc:spChg>
        <pc:spChg chg="mod">
          <ac:chgData name="Persoons, Mathias" userId="441499e7-dba7-4c31-965e-cd23754bcc13" providerId="ADAL" clId="{1426C7AD-FF65-40BC-8F45-13352AF4A21C}" dt="2023-06-25T20:41:04.782" v="14791"/>
          <ac:spMkLst>
            <pc:docMk/>
            <pc:sldMk cId="2211365241" sldId="2147470219"/>
            <ac:spMk id="11" creationId="{02EF916B-2B7A-4E08-AD72-3F26DB0604BC}"/>
          </ac:spMkLst>
        </pc:spChg>
        <pc:spChg chg="mod">
          <ac:chgData name="Persoons, Mathias" userId="441499e7-dba7-4c31-965e-cd23754bcc13" providerId="ADAL" clId="{1426C7AD-FF65-40BC-8F45-13352AF4A21C}" dt="2023-06-25T20:43:37.923" v="14811"/>
          <ac:spMkLst>
            <pc:docMk/>
            <pc:sldMk cId="2211365241" sldId="2147470219"/>
            <ac:spMk id="14" creationId="{F657DAD4-878E-5623-E13E-198EB90988ED}"/>
          </ac:spMkLst>
        </pc:spChg>
        <pc:spChg chg="mod">
          <ac:chgData name="Persoons, Mathias" userId="441499e7-dba7-4c31-965e-cd23754bcc13" providerId="ADAL" clId="{1426C7AD-FF65-40BC-8F45-13352AF4A21C}" dt="2023-06-25T20:46:26.845" v="14860" actId="1076"/>
          <ac:spMkLst>
            <pc:docMk/>
            <pc:sldMk cId="2211365241" sldId="2147470219"/>
            <ac:spMk id="17" creationId="{B03DDF60-68A1-1066-15DB-39C815F40EC9}"/>
          </ac:spMkLst>
        </pc:spChg>
        <pc:spChg chg="mod">
          <ac:chgData name="Persoons, Mathias" userId="441499e7-dba7-4c31-965e-cd23754bcc13" providerId="ADAL" clId="{1426C7AD-FF65-40BC-8F45-13352AF4A21C}" dt="2023-06-25T20:48:10.407" v="14875" actId="1076"/>
          <ac:spMkLst>
            <pc:docMk/>
            <pc:sldMk cId="2211365241" sldId="2147470219"/>
            <ac:spMk id="20" creationId="{245303E5-DC03-73D2-795E-CE7EF481F375}"/>
          </ac:spMkLst>
        </pc:spChg>
        <pc:spChg chg="mod">
          <ac:chgData name="Persoons, Mathias" userId="441499e7-dba7-4c31-965e-cd23754bcc13" providerId="ADAL" clId="{1426C7AD-FF65-40BC-8F45-13352AF4A21C}" dt="2023-06-25T20:49:30.815" v="14888" actId="1076"/>
          <ac:spMkLst>
            <pc:docMk/>
            <pc:sldMk cId="2211365241" sldId="2147470219"/>
            <ac:spMk id="23" creationId="{AE858BB8-7114-54EB-F0C7-AE67AFE45709}"/>
          </ac:spMkLst>
        </pc:spChg>
        <pc:spChg chg="mod">
          <ac:chgData name="Persoons, Mathias" userId="441499e7-dba7-4c31-965e-cd23754bcc13" providerId="ADAL" clId="{1426C7AD-FF65-40BC-8F45-13352AF4A21C}" dt="2023-06-26T09:11:48.242" v="14985"/>
          <ac:spMkLst>
            <pc:docMk/>
            <pc:sldMk cId="2211365241" sldId="2147470219"/>
            <ac:spMk id="26" creationId="{DD140158-FAC6-14DF-D6CD-058527492E7B}"/>
          </ac:spMkLst>
        </pc:spChg>
        <pc:spChg chg="mod">
          <ac:chgData name="Persoons, Mathias" userId="441499e7-dba7-4c31-965e-cd23754bcc13" providerId="ADAL" clId="{1426C7AD-FF65-40BC-8F45-13352AF4A21C}" dt="2023-06-26T09:11:48.242" v="14985"/>
          <ac:spMkLst>
            <pc:docMk/>
            <pc:sldMk cId="2211365241" sldId="2147470219"/>
            <ac:spMk id="27" creationId="{C77D319D-BE37-D548-CF33-E5D9B3F34BDD}"/>
          </ac:spMkLst>
        </pc:spChg>
        <pc:spChg chg="mod">
          <ac:chgData name="Persoons, Mathias" userId="441499e7-dba7-4c31-965e-cd23754bcc13" providerId="ADAL" clId="{1426C7AD-FF65-40BC-8F45-13352AF4A21C}" dt="2023-06-26T09:11:48.242" v="14985"/>
          <ac:spMkLst>
            <pc:docMk/>
            <pc:sldMk cId="2211365241" sldId="2147470219"/>
            <ac:spMk id="28" creationId="{3BBE3347-45DB-49FD-AA91-5CB72AD9490D}"/>
          </ac:spMkLst>
        </pc:spChg>
        <pc:spChg chg="mod">
          <ac:chgData name="Persoons, Mathias" userId="441499e7-dba7-4c31-965e-cd23754bcc13" providerId="ADAL" clId="{1426C7AD-FF65-40BC-8F45-13352AF4A21C}" dt="2023-06-26T09:11:48.242" v="14985"/>
          <ac:spMkLst>
            <pc:docMk/>
            <pc:sldMk cId="2211365241" sldId="2147470219"/>
            <ac:spMk id="29" creationId="{9A3EE2DA-1335-783B-7FB9-D022B4C573AF}"/>
          </ac:spMkLst>
        </pc:spChg>
        <pc:grpChg chg="add mod">
          <ac:chgData name="Persoons, Mathias" userId="441499e7-dba7-4c31-965e-cd23754bcc13" providerId="ADAL" clId="{1426C7AD-FF65-40BC-8F45-13352AF4A21C}" dt="2023-06-25T20:37:18.726" v="14771"/>
          <ac:grpSpMkLst>
            <pc:docMk/>
            <pc:sldMk cId="2211365241" sldId="2147470219"/>
            <ac:grpSpMk id="4" creationId="{FAB44394-A425-F3DD-3957-067218B44DE2}"/>
          </ac:grpSpMkLst>
        </pc:grpChg>
        <pc:grpChg chg="add mod">
          <ac:chgData name="Persoons, Mathias" userId="441499e7-dba7-4c31-965e-cd23754bcc13" providerId="ADAL" clId="{1426C7AD-FF65-40BC-8F45-13352AF4A21C}" dt="2023-06-25T20:41:14.799" v="14793" actId="1076"/>
          <ac:grpSpMkLst>
            <pc:docMk/>
            <pc:sldMk cId="2211365241" sldId="2147470219"/>
            <ac:grpSpMk id="10" creationId="{25779B35-3FDF-C0ED-5BE4-3D7B469F8F10}"/>
          </ac:grpSpMkLst>
        </pc:grpChg>
        <pc:grpChg chg="add mod">
          <ac:chgData name="Persoons, Mathias" userId="441499e7-dba7-4c31-965e-cd23754bcc13" providerId="ADAL" clId="{1426C7AD-FF65-40BC-8F45-13352AF4A21C}" dt="2023-06-25T20:44:08.781" v="14847" actId="1037"/>
          <ac:grpSpMkLst>
            <pc:docMk/>
            <pc:sldMk cId="2211365241" sldId="2147470219"/>
            <ac:grpSpMk id="13" creationId="{D397B424-A075-996A-7506-A9BC301FEBF9}"/>
          </ac:grpSpMkLst>
        </pc:grpChg>
        <pc:grpChg chg="add mod">
          <ac:chgData name="Persoons, Mathias" userId="441499e7-dba7-4c31-965e-cd23754bcc13" providerId="ADAL" clId="{1426C7AD-FF65-40BC-8F45-13352AF4A21C}" dt="2023-06-25T20:46:26.845" v="14860" actId="1076"/>
          <ac:grpSpMkLst>
            <pc:docMk/>
            <pc:sldMk cId="2211365241" sldId="2147470219"/>
            <ac:grpSpMk id="16" creationId="{926AF3BE-FC1E-2A65-CFFB-9005707276AA}"/>
          </ac:grpSpMkLst>
        </pc:grpChg>
        <pc:grpChg chg="add mod">
          <ac:chgData name="Persoons, Mathias" userId="441499e7-dba7-4c31-965e-cd23754bcc13" providerId="ADAL" clId="{1426C7AD-FF65-40BC-8F45-13352AF4A21C}" dt="2023-06-25T20:48:10.407" v="14875" actId="1076"/>
          <ac:grpSpMkLst>
            <pc:docMk/>
            <pc:sldMk cId="2211365241" sldId="2147470219"/>
            <ac:grpSpMk id="19" creationId="{D0B5EDBF-9940-B5B2-C15D-CCE3CD6B6D92}"/>
          </ac:grpSpMkLst>
        </pc:grpChg>
        <pc:grpChg chg="add mod">
          <ac:chgData name="Persoons, Mathias" userId="441499e7-dba7-4c31-965e-cd23754bcc13" providerId="ADAL" clId="{1426C7AD-FF65-40BC-8F45-13352AF4A21C}" dt="2023-06-25T20:49:30.815" v="14888" actId="1076"/>
          <ac:grpSpMkLst>
            <pc:docMk/>
            <pc:sldMk cId="2211365241" sldId="2147470219"/>
            <ac:grpSpMk id="22" creationId="{16C91AE5-B656-222C-EF68-CAECB6A7E378}"/>
          </ac:grpSpMkLst>
        </pc:grpChg>
        <pc:grpChg chg="add mod">
          <ac:chgData name="Persoons, Mathias" userId="441499e7-dba7-4c31-965e-cd23754bcc13" providerId="ADAL" clId="{1426C7AD-FF65-40BC-8F45-13352AF4A21C}" dt="2023-06-26T09:11:52.927" v="14986" actId="1076"/>
          <ac:grpSpMkLst>
            <pc:docMk/>
            <pc:sldMk cId="2211365241" sldId="2147470219"/>
            <ac:grpSpMk id="25" creationId="{07C66E1C-CFBC-C977-EF6C-EA8D406A4667}"/>
          </ac:grpSpMkLst>
        </pc:grpChg>
        <pc:picChg chg="mod modCrop">
          <ac:chgData name="Persoons, Mathias" userId="441499e7-dba7-4c31-965e-cd23754bcc13" providerId="ADAL" clId="{1426C7AD-FF65-40BC-8F45-13352AF4A21C}" dt="2023-06-25T20:44:23.908" v="14848" actId="732"/>
          <ac:picMkLst>
            <pc:docMk/>
            <pc:sldMk cId="2211365241" sldId="2147470219"/>
            <ac:picMk id="5" creationId="{A3094DE1-24CE-8131-2D8F-F52D5060EB23}"/>
          </ac:picMkLst>
        </pc:picChg>
        <pc:picChg chg="mod">
          <ac:chgData name="Persoons, Mathias" userId="441499e7-dba7-4c31-965e-cd23754bcc13" providerId="ADAL" clId="{1426C7AD-FF65-40BC-8F45-13352AF4A21C}" dt="2023-06-25T20:37:18.726" v="14771"/>
          <ac:picMkLst>
            <pc:docMk/>
            <pc:sldMk cId="2211365241" sldId="2147470219"/>
            <ac:picMk id="8" creationId="{1D152491-8CE3-322D-D724-EC6F9B3F0564}"/>
          </ac:picMkLst>
        </pc:picChg>
        <pc:picChg chg="mod">
          <ac:chgData name="Persoons, Mathias" userId="441499e7-dba7-4c31-965e-cd23754bcc13" providerId="ADAL" clId="{1426C7AD-FF65-40BC-8F45-13352AF4A21C}" dt="2023-06-25T20:37:18.726" v="14771"/>
          <ac:picMkLst>
            <pc:docMk/>
            <pc:sldMk cId="2211365241" sldId="2147470219"/>
            <ac:picMk id="9" creationId="{D316EDE7-700A-1568-1029-6AF5DD44D6C0}"/>
          </ac:picMkLst>
        </pc:picChg>
        <pc:picChg chg="mod">
          <ac:chgData name="Persoons, Mathias" userId="441499e7-dba7-4c31-965e-cd23754bcc13" providerId="ADAL" clId="{1426C7AD-FF65-40BC-8F45-13352AF4A21C}" dt="2023-06-25T20:41:04.782" v="14791"/>
          <ac:picMkLst>
            <pc:docMk/>
            <pc:sldMk cId="2211365241" sldId="2147470219"/>
            <ac:picMk id="12" creationId="{F8D2CED2-FD8F-E78A-CA38-3943F9B005FB}"/>
          </ac:picMkLst>
        </pc:picChg>
        <pc:picChg chg="mod">
          <ac:chgData name="Persoons, Mathias" userId="441499e7-dba7-4c31-965e-cd23754bcc13" providerId="ADAL" clId="{1426C7AD-FF65-40BC-8F45-13352AF4A21C}" dt="2023-06-25T20:43:37.923" v="14811"/>
          <ac:picMkLst>
            <pc:docMk/>
            <pc:sldMk cId="2211365241" sldId="2147470219"/>
            <ac:picMk id="15" creationId="{F018E791-6084-2D3F-E6E9-F4702D657157}"/>
          </ac:picMkLst>
        </pc:picChg>
        <pc:picChg chg="mod">
          <ac:chgData name="Persoons, Mathias" userId="441499e7-dba7-4c31-965e-cd23754bcc13" providerId="ADAL" clId="{1426C7AD-FF65-40BC-8F45-13352AF4A21C}" dt="2023-06-25T20:46:26.845" v="14860" actId="1076"/>
          <ac:picMkLst>
            <pc:docMk/>
            <pc:sldMk cId="2211365241" sldId="2147470219"/>
            <ac:picMk id="18" creationId="{6A2DC86F-A58F-F4AD-B5BF-48C0950CC895}"/>
          </ac:picMkLst>
        </pc:picChg>
        <pc:picChg chg="mod">
          <ac:chgData name="Persoons, Mathias" userId="441499e7-dba7-4c31-965e-cd23754bcc13" providerId="ADAL" clId="{1426C7AD-FF65-40BC-8F45-13352AF4A21C}" dt="2023-06-25T20:48:10.407" v="14875" actId="1076"/>
          <ac:picMkLst>
            <pc:docMk/>
            <pc:sldMk cId="2211365241" sldId="2147470219"/>
            <ac:picMk id="21" creationId="{DDC0A00E-FA14-3593-B675-F9ED65B5B2DB}"/>
          </ac:picMkLst>
        </pc:picChg>
        <pc:picChg chg="mod">
          <ac:chgData name="Persoons, Mathias" userId="441499e7-dba7-4c31-965e-cd23754bcc13" providerId="ADAL" clId="{1426C7AD-FF65-40BC-8F45-13352AF4A21C}" dt="2023-06-25T20:49:30.815" v="14888" actId="1076"/>
          <ac:picMkLst>
            <pc:docMk/>
            <pc:sldMk cId="2211365241" sldId="2147470219"/>
            <ac:picMk id="24" creationId="{1F9B7F16-5F55-D90F-CF60-8ED7CC0473D5}"/>
          </ac:picMkLst>
        </pc:picChg>
      </pc:sldChg>
      <pc:sldChg chg="addSp delSp modSp new del mod">
        <pc:chgData name="Persoons, Mathias" userId="441499e7-dba7-4c31-965e-cd23754bcc13" providerId="ADAL" clId="{1426C7AD-FF65-40BC-8F45-13352AF4A21C}" dt="2023-06-25T20:43:09.933" v="14803" actId="47"/>
        <pc:sldMkLst>
          <pc:docMk/>
          <pc:sldMk cId="3205817484" sldId="2147470220"/>
        </pc:sldMkLst>
        <pc:spChg chg="del">
          <ac:chgData name="Persoons, Mathias" userId="441499e7-dba7-4c31-965e-cd23754bcc13" providerId="ADAL" clId="{1426C7AD-FF65-40BC-8F45-13352AF4A21C}" dt="2023-06-25T14:23:04.677" v="14562" actId="478"/>
          <ac:spMkLst>
            <pc:docMk/>
            <pc:sldMk cId="3205817484" sldId="2147470220"/>
            <ac:spMk id="2" creationId="{CAE457CE-6AA3-09D9-875B-D0FD14C87B47}"/>
          </ac:spMkLst>
        </pc:spChg>
        <pc:spChg chg="del">
          <ac:chgData name="Persoons, Mathias" userId="441499e7-dba7-4c31-965e-cd23754bcc13" providerId="ADAL" clId="{1426C7AD-FF65-40BC-8F45-13352AF4A21C}" dt="2023-06-25T14:23:02.274" v="14561" actId="478"/>
          <ac:spMkLst>
            <pc:docMk/>
            <pc:sldMk cId="3205817484" sldId="2147470220"/>
            <ac:spMk id="3" creationId="{CC03DA4F-A4D2-3ADB-4015-CD1136542BFF}"/>
          </ac:spMkLst>
        </pc:spChg>
        <pc:picChg chg="add del mod">
          <ac:chgData name="Persoons, Mathias" userId="441499e7-dba7-4c31-965e-cd23754bcc13" providerId="ADAL" clId="{1426C7AD-FF65-40BC-8F45-13352AF4A21C}" dt="2023-06-25T20:40:49.373" v="14788" actId="21"/>
          <ac:picMkLst>
            <pc:docMk/>
            <pc:sldMk cId="3205817484" sldId="2147470220"/>
            <ac:picMk id="6" creationId="{29615FA9-2AC8-0162-3A61-A57DAE1294A9}"/>
          </ac:picMkLst>
        </pc:picChg>
      </pc:sldChg>
      <pc:sldChg chg="addSp delSp modSp new del mod modAnim">
        <pc:chgData name="Persoons, Mathias" userId="441499e7-dba7-4c31-965e-cd23754bcc13" providerId="ADAL" clId="{1426C7AD-FF65-40BC-8F45-13352AF4A21C}" dt="2023-06-26T09:11:45.330" v="14984" actId="47"/>
        <pc:sldMkLst>
          <pc:docMk/>
          <pc:sldMk cId="3719359670" sldId="2147470220"/>
        </pc:sldMkLst>
        <pc:spChg chg="del">
          <ac:chgData name="Persoons, Mathias" userId="441499e7-dba7-4c31-965e-cd23754bcc13" providerId="ADAL" clId="{1426C7AD-FF65-40BC-8F45-13352AF4A21C}" dt="2023-06-26T09:09:28.763" v="14960" actId="478"/>
          <ac:spMkLst>
            <pc:docMk/>
            <pc:sldMk cId="3719359670" sldId="2147470220"/>
            <ac:spMk id="2" creationId="{C48734D1-72B6-0FC7-DEFE-3D5221CCDCCC}"/>
          </ac:spMkLst>
        </pc:spChg>
        <pc:spChg chg="del">
          <ac:chgData name="Persoons, Mathias" userId="441499e7-dba7-4c31-965e-cd23754bcc13" providerId="ADAL" clId="{1426C7AD-FF65-40BC-8F45-13352AF4A21C}" dt="2023-06-26T09:09:27.034" v="14959" actId="478"/>
          <ac:spMkLst>
            <pc:docMk/>
            <pc:sldMk cId="3719359670" sldId="2147470220"/>
            <ac:spMk id="3" creationId="{21A2B44F-9011-4F80-D9EE-CBEB6ED19BEB}"/>
          </ac:spMkLst>
        </pc:spChg>
        <pc:spChg chg="mod topLvl">
          <ac:chgData name="Persoons, Mathias" userId="441499e7-dba7-4c31-965e-cd23754bcc13" providerId="ADAL" clId="{1426C7AD-FF65-40BC-8F45-13352AF4A21C}" dt="2023-06-26T09:09:23.947" v="14957" actId="164"/>
          <ac:spMkLst>
            <pc:docMk/>
            <pc:sldMk cId="3719359670" sldId="2147470220"/>
            <ac:spMk id="6" creationId="{3507A22D-9BE3-7D8A-E85E-699BFD601C29}"/>
          </ac:spMkLst>
        </pc:spChg>
        <pc:spChg chg="add mod">
          <ac:chgData name="Persoons, Mathias" userId="441499e7-dba7-4c31-965e-cd23754bcc13" providerId="ADAL" clId="{1426C7AD-FF65-40BC-8F45-13352AF4A21C}" dt="2023-06-26T09:09:23.947" v="14957" actId="164"/>
          <ac:spMkLst>
            <pc:docMk/>
            <pc:sldMk cId="3719359670" sldId="2147470220"/>
            <ac:spMk id="8" creationId="{6008ED3E-FB17-748B-A597-93F3C10D6FA2}"/>
          </ac:spMkLst>
        </pc:spChg>
        <pc:spChg chg="add mod">
          <ac:chgData name="Persoons, Mathias" userId="441499e7-dba7-4c31-965e-cd23754bcc13" providerId="ADAL" clId="{1426C7AD-FF65-40BC-8F45-13352AF4A21C}" dt="2023-06-26T09:09:23.947" v="14957" actId="164"/>
          <ac:spMkLst>
            <pc:docMk/>
            <pc:sldMk cId="3719359670" sldId="2147470220"/>
            <ac:spMk id="9" creationId="{AA12A7C7-7A5F-18EE-F815-643CFB8F4539}"/>
          </ac:spMkLst>
        </pc:spChg>
        <pc:spChg chg="del mod topLvl">
          <ac:chgData name="Persoons, Mathias" userId="441499e7-dba7-4c31-965e-cd23754bcc13" providerId="ADAL" clId="{1426C7AD-FF65-40BC-8F45-13352AF4A21C}" dt="2023-06-26T09:11:07.799" v="14977" actId="21"/>
          <ac:spMkLst>
            <pc:docMk/>
            <pc:sldMk cId="3719359670" sldId="2147470220"/>
            <ac:spMk id="12" creationId="{6ED62CAE-E36C-0E9C-8883-FBC724502F6F}"/>
          </ac:spMkLst>
        </pc:spChg>
        <pc:spChg chg="mod topLvl">
          <ac:chgData name="Persoons, Mathias" userId="441499e7-dba7-4c31-965e-cd23754bcc13" providerId="ADAL" clId="{1426C7AD-FF65-40BC-8F45-13352AF4A21C}" dt="2023-06-26T09:11:40.750" v="14982" actId="164"/>
          <ac:spMkLst>
            <pc:docMk/>
            <pc:sldMk cId="3719359670" sldId="2147470220"/>
            <ac:spMk id="13" creationId="{560B6322-58D5-28E2-FCA3-D7CB64F736CF}"/>
          </ac:spMkLst>
        </pc:spChg>
        <pc:spChg chg="mod topLvl">
          <ac:chgData name="Persoons, Mathias" userId="441499e7-dba7-4c31-965e-cd23754bcc13" providerId="ADAL" clId="{1426C7AD-FF65-40BC-8F45-13352AF4A21C}" dt="2023-06-26T09:11:40.750" v="14982" actId="164"/>
          <ac:spMkLst>
            <pc:docMk/>
            <pc:sldMk cId="3719359670" sldId="2147470220"/>
            <ac:spMk id="14" creationId="{40F05C3C-2AC6-B511-ECF8-EDC8D9B679DD}"/>
          </ac:spMkLst>
        </pc:spChg>
        <pc:spChg chg="add del">
          <ac:chgData name="Persoons, Mathias" userId="441499e7-dba7-4c31-965e-cd23754bcc13" providerId="ADAL" clId="{1426C7AD-FF65-40BC-8F45-13352AF4A21C}" dt="2023-06-26T09:10:01.894" v="14967" actId="11529"/>
          <ac:spMkLst>
            <pc:docMk/>
            <pc:sldMk cId="3719359670" sldId="2147470220"/>
            <ac:spMk id="15" creationId="{242C8976-29A8-4CF2-6EDA-07EEB346D695}"/>
          </ac:spMkLst>
        </pc:spChg>
        <pc:spChg chg="add mod">
          <ac:chgData name="Persoons, Mathias" userId="441499e7-dba7-4c31-965e-cd23754bcc13" providerId="ADAL" clId="{1426C7AD-FF65-40BC-8F45-13352AF4A21C}" dt="2023-06-26T09:11:40.750" v="14982" actId="164"/>
          <ac:spMkLst>
            <pc:docMk/>
            <pc:sldMk cId="3719359670" sldId="2147470220"/>
            <ac:spMk id="16" creationId="{43893B9E-D5D3-C51A-BF9F-A6312E0D0D23}"/>
          </ac:spMkLst>
        </pc:spChg>
        <pc:spChg chg="add mod ord">
          <ac:chgData name="Persoons, Mathias" userId="441499e7-dba7-4c31-965e-cd23754bcc13" providerId="ADAL" clId="{1426C7AD-FF65-40BC-8F45-13352AF4A21C}" dt="2023-06-26T09:11:40.750" v="14982" actId="164"/>
          <ac:spMkLst>
            <pc:docMk/>
            <pc:sldMk cId="3719359670" sldId="2147470220"/>
            <ac:spMk id="17" creationId="{10BBAADA-6732-824F-DB99-653C34078502}"/>
          </ac:spMkLst>
        </pc:spChg>
        <pc:grpChg chg="add del mod">
          <ac:chgData name="Persoons, Mathias" userId="441499e7-dba7-4c31-965e-cd23754bcc13" providerId="ADAL" clId="{1426C7AD-FF65-40BC-8F45-13352AF4A21C}" dt="2023-06-26T09:07:39.667" v="14936" actId="165"/>
          <ac:grpSpMkLst>
            <pc:docMk/>
            <pc:sldMk cId="3719359670" sldId="2147470220"/>
            <ac:grpSpMk id="5" creationId="{5697F503-C11C-4061-5B76-799A82E210AE}"/>
          </ac:grpSpMkLst>
        </pc:grpChg>
        <pc:grpChg chg="add del mod">
          <ac:chgData name="Persoons, Mathias" userId="441499e7-dba7-4c31-965e-cd23754bcc13" providerId="ADAL" clId="{1426C7AD-FF65-40BC-8F45-13352AF4A21C}" dt="2023-06-26T09:09:24.930" v="14958" actId="21"/>
          <ac:grpSpMkLst>
            <pc:docMk/>
            <pc:sldMk cId="3719359670" sldId="2147470220"/>
            <ac:grpSpMk id="10" creationId="{2B829A18-AE50-BE9D-0F7A-036AFF4F0F69}"/>
          </ac:grpSpMkLst>
        </pc:grpChg>
        <pc:grpChg chg="add del mod">
          <ac:chgData name="Persoons, Mathias" userId="441499e7-dba7-4c31-965e-cd23754bcc13" providerId="ADAL" clId="{1426C7AD-FF65-40BC-8F45-13352AF4A21C}" dt="2023-06-26T09:11:05.095" v="14976" actId="165"/>
          <ac:grpSpMkLst>
            <pc:docMk/>
            <pc:sldMk cId="3719359670" sldId="2147470220"/>
            <ac:grpSpMk id="11" creationId="{2ABB6078-3B4F-B20B-9877-2CB425634893}"/>
          </ac:grpSpMkLst>
        </pc:grpChg>
        <pc:grpChg chg="add del mod">
          <ac:chgData name="Persoons, Mathias" userId="441499e7-dba7-4c31-965e-cd23754bcc13" providerId="ADAL" clId="{1426C7AD-FF65-40BC-8F45-13352AF4A21C}" dt="2023-06-26T09:11:41.872" v="14983" actId="21"/>
          <ac:grpSpMkLst>
            <pc:docMk/>
            <pc:sldMk cId="3719359670" sldId="2147470220"/>
            <ac:grpSpMk id="18" creationId="{516DE53B-C277-303E-1267-D15FDD0438AF}"/>
          </ac:grpSpMkLst>
        </pc:grpChg>
        <pc:picChg chg="del mod topLvl">
          <ac:chgData name="Persoons, Mathias" userId="441499e7-dba7-4c31-965e-cd23754bcc13" providerId="ADAL" clId="{1426C7AD-FF65-40BC-8F45-13352AF4A21C}" dt="2023-06-26T09:07:45.324" v="14937" actId="478"/>
          <ac:picMkLst>
            <pc:docMk/>
            <pc:sldMk cId="3719359670" sldId="2147470220"/>
            <ac:picMk id="7" creationId="{9057197C-C616-7CA7-C52A-4C2B8BD3A4AB}"/>
          </ac:picMkLst>
        </pc:picChg>
      </pc:sldChg>
      <pc:sldChg chg="addSp delSp modSp new del mod delAnim modAnim">
        <pc:chgData name="Persoons, Mathias" userId="441499e7-dba7-4c31-965e-cd23754bcc13" providerId="ADAL" clId="{1426C7AD-FF65-40BC-8F45-13352AF4A21C}" dt="2023-06-25T20:43:32.492" v="14810" actId="47"/>
        <pc:sldMkLst>
          <pc:docMk/>
          <pc:sldMk cId="4281211853" sldId="2147470221"/>
        </pc:sldMkLst>
        <pc:spChg chg="del">
          <ac:chgData name="Persoons, Mathias" userId="441499e7-dba7-4c31-965e-cd23754bcc13" providerId="ADAL" clId="{1426C7AD-FF65-40BC-8F45-13352AF4A21C}" dt="2023-06-25T14:52:14.115" v="14615" actId="478"/>
          <ac:spMkLst>
            <pc:docMk/>
            <pc:sldMk cId="4281211853" sldId="2147470221"/>
            <ac:spMk id="2" creationId="{1163EC19-7AC5-4805-9226-F631271A6C0D}"/>
          </ac:spMkLst>
        </pc:spChg>
        <pc:spChg chg="del">
          <ac:chgData name="Persoons, Mathias" userId="441499e7-dba7-4c31-965e-cd23754bcc13" providerId="ADAL" clId="{1426C7AD-FF65-40BC-8F45-13352AF4A21C}" dt="2023-06-25T14:52:13.155" v="14614" actId="478"/>
          <ac:spMkLst>
            <pc:docMk/>
            <pc:sldMk cId="4281211853" sldId="2147470221"/>
            <ac:spMk id="3" creationId="{A2649153-3628-C7D1-B552-E683A84EB10C}"/>
          </ac:spMkLst>
        </pc:spChg>
        <pc:picChg chg="add del mod">
          <ac:chgData name="Persoons, Mathias" userId="441499e7-dba7-4c31-965e-cd23754bcc13" providerId="ADAL" clId="{1426C7AD-FF65-40BC-8F45-13352AF4A21C}" dt="2023-06-25T20:43:16.161" v="14805" actId="21"/>
          <ac:picMkLst>
            <pc:docMk/>
            <pc:sldMk cId="4281211853" sldId="2147470221"/>
            <ac:picMk id="5" creationId="{3F9FC995-4493-E058-0C2E-815DE625529D}"/>
          </ac:picMkLst>
        </pc:picChg>
      </pc:sldChg>
      <pc:sldChg chg="addSp delSp new del mod">
        <pc:chgData name="Persoons, Mathias" userId="441499e7-dba7-4c31-965e-cd23754bcc13" providerId="ADAL" clId="{1426C7AD-FF65-40BC-8F45-13352AF4A21C}" dt="2023-06-25T20:45:58.547" v="14854" actId="47"/>
        <pc:sldMkLst>
          <pc:docMk/>
          <pc:sldMk cId="435122463" sldId="2147470222"/>
        </pc:sldMkLst>
        <pc:spChg chg="del">
          <ac:chgData name="Persoons, Mathias" userId="441499e7-dba7-4c31-965e-cd23754bcc13" providerId="ADAL" clId="{1426C7AD-FF65-40BC-8F45-13352AF4A21C}" dt="2023-06-25T14:55:11.748" v="14622" actId="478"/>
          <ac:spMkLst>
            <pc:docMk/>
            <pc:sldMk cId="435122463" sldId="2147470222"/>
            <ac:spMk id="2" creationId="{09D0AAB3-4EF3-8617-DC9A-7ED5FBCEAC28}"/>
          </ac:spMkLst>
        </pc:spChg>
        <pc:spChg chg="del">
          <ac:chgData name="Persoons, Mathias" userId="441499e7-dba7-4c31-965e-cd23754bcc13" providerId="ADAL" clId="{1426C7AD-FF65-40BC-8F45-13352AF4A21C}" dt="2023-06-25T14:55:10.801" v="14621" actId="478"/>
          <ac:spMkLst>
            <pc:docMk/>
            <pc:sldMk cId="435122463" sldId="2147470222"/>
            <ac:spMk id="3" creationId="{718BE51B-3C67-AE5F-EA61-08C46503BA3F}"/>
          </ac:spMkLst>
        </pc:spChg>
        <pc:picChg chg="add del">
          <ac:chgData name="Persoons, Mathias" userId="441499e7-dba7-4c31-965e-cd23754bcc13" providerId="ADAL" clId="{1426C7AD-FF65-40BC-8F45-13352AF4A21C}" dt="2023-06-25T20:45:55.051" v="14852" actId="21"/>
          <ac:picMkLst>
            <pc:docMk/>
            <pc:sldMk cId="435122463" sldId="2147470222"/>
            <ac:picMk id="1026" creationId="{44C05E41-0516-E8E1-1A20-F90243C6D480}"/>
          </ac:picMkLst>
        </pc:picChg>
      </pc:sldChg>
      <pc:sldChg chg="addSp delSp modSp new del mod modAnim">
        <pc:chgData name="Persoons, Mathias" userId="441499e7-dba7-4c31-965e-cd23754bcc13" providerId="ADAL" clId="{1426C7AD-FF65-40BC-8F45-13352AF4A21C}" dt="2023-06-25T20:50:04.172" v="14892" actId="47"/>
        <pc:sldMkLst>
          <pc:docMk/>
          <pc:sldMk cId="2033898913" sldId="2147470223"/>
        </pc:sldMkLst>
        <pc:spChg chg="del">
          <ac:chgData name="Persoons, Mathias" userId="441499e7-dba7-4c31-965e-cd23754bcc13" providerId="ADAL" clId="{1426C7AD-FF65-40BC-8F45-13352AF4A21C}" dt="2023-06-25T15:36:22.838" v="14664" actId="478"/>
          <ac:spMkLst>
            <pc:docMk/>
            <pc:sldMk cId="2033898913" sldId="2147470223"/>
            <ac:spMk id="2" creationId="{7596D88A-A274-E640-1981-44526F3256AB}"/>
          </ac:spMkLst>
        </pc:spChg>
        <pc:spChg chg="del">
          <ac:chgData name="Persoons, Mathias" userId="441499e7-dba7-4c31-965e-cd23754bcc13" providerId="ADAL" clId="{1426C7AD-FF65-40BC-8F45-13352AF4A21C}" dt="2023-06-25T15:36:21.797" v="14663" actId="478"/>
          <ac:spMkLst>
            <pc:docMk/>
            <pc:sldMk cId="2033898913" sldId="2147470223"/>
            <ac:spMk id="3" creationId="{B8357D68-E438-B128-FBCB-D0A51ACD1563}"/>
          </ac:spMkLst>
        </pc:spChg>
        <pc:picChg chg="add del mod">
          <ac:chgData name="Persoons, Mathias" userId="441499e7-dba7-4c31-965e-cd23754bcc13" providerId="ADAL" clId="{1426C7AD-FF65-40BC-8F45-13352AF4A21C}" dt="2023-06-25T20:48:56.085" v="14879" actId="21"/>
          <ac:picMkLst>
            <pc:docMk/>
            <pc:sldMk cId="2033898913" sldId="2147470223"/>
            <ac:picMk id="2050" creationId="{32EEACA1-D59D-F27E-78C9-F026E6B5EAF0}"/>
          </ac:picMkLst>
        </pc:picChg>
        <pc:picChg chg="add del mod">
          <ac:chgData name="Persoons, Mathias" userId="441499e7-dba7-4c31-965e-cd23754bcc13" providerId="ADAL" clId="{1426C7AD-FF65-40BC-8F45-13352AF4A21C}" dt="2023-06-25T20:47:44.683" v="14871" actId="21"/>
          <ac:picMkLst>
            <pc:docMk/>
            <pc:sldMk cId="2033898913" sldId="2147470223"/>
            <ac:picMk id="2052" creationId="{56FC168B-F373-B55B-CB1A-FFE16ABA5D44}"/>
          </ac:picMkLst>
        </pc:picChg>
      </pc:sldChg>
      <pc:sldChg chg="add del">
        <pc:chgData name="Persoons, Mathias" userId="441499e7-dba7-4c31-965e-cd23754bcc13" providerId="ADAL" clId="{1426C7AD-FF65-40BC-8F45-13352AF4A21C}" dt="2023-06-25T14:22:55.299" v="14559"/>
        <pc:sldMkLst>
          <pc:docMk/>
          <pc:sldMk cId="2217406476" sldId="2147470224"/>
        </pc:sldMkLst>
      </pc:sldChg>
    </pc:docChg>
  </pc:docChgLst>
  <pc:docChgLst>
    <pc:chgData name="Vervloet, Toni" userId="f28533a5-53b3-4f10-93bf-dd331599556d" providerId="ADAL" clId="{867EDD7F-81F9-4771-A974-919973341291}"/>
    <pc:docChg chg="undo redo custSel addSld delSld modSld sldOrd modMainMaster addSection modSection modNotesMaster modShowInfo">
      <pc:chgData name="Vervloet, Toni" userId="f28533a5-53b3-4f10-93bf-dd331599556d" providerId="ADAL" clId="{867EDD7F-81F9-4771-A974-919973341291}" dt="2023-06-26T15:48:15.472" v="7282" actId="255"/>
      <pc:docMkLst>
        <pc:docMk/>
      </pc:docMkLst>
      <pc:sldChg chg="modSp mod modAnim modNotesTx">
        <pc:chgData name="Vervloet, Toni" userId="f28533a5-53b3-4f10-93bf-dd331599556d" providerId="ADAL" clId="{867EDD7F-81F9-4771-A974-919973341291}" dt="2023-06-23T12:57:01.845" v="7276"/>
        <pc:sldMkLst>
          <pc:docMk/>
          <pc:sldMk cId="1836638084" sldId="257"/>
        </pc:sldMkLst>
        <pc:spChg chg="mod">
          <ac:chgData name="Vervloet, Toni" userId="f28533a5-53b3-4f10-93bf-dd331599556d" providerId="ADAL" clId="{867EDD7F-81F9-4771-A974-919973341291}" dt="2023-06-02T12:51:07.861" v="2499" actId="14100"/>
          <ac:spMkLst>
            <pc:docMk/>
            <pc:sldMk cId="1836638084" sldId="257"/>
            <ac:spMk id="2" creationId="{0696D550-AA1E-19CB-F8FC-4550598E91F5}"/>
          </ac:spMkLst>
        </pc:spChg>
        <pc:spChg chg="mod">
          <ac:chgData name="Vervloet, Toni" userId="f28533a5-53b3-4f10-93bf-dd331599556d" providerId="ADAL" clId="{867EDD7F-81F9-4771-A974-919973341291}" dt="2023-06-23T12:56:17.499" v="7268" actId="1037"/>
          <ac:spMkLst>
            <pc:docMk/>
            <pc:sldMk cId="1836638084" sldId="257"/>
            <ac:spMk id="3" creationId="{D7F7C231-56A6-D294-54B1-C61690C8C16C}"/>
          </ac:spMkLst>
        </pc:spChg>
        <pc:picChg chg="mod">
          <ac:chgData name="Vervloet, Toni" userId="f28533a5-53b3-4f10-93bf-dd331599556d" providerId="ADAL" clId="{867EDD7F-81F9-4771-A974-919973341291}" dt="2023-06-20T15:28:57.061" v="6832" actId="962"/>
          <ac:picMkLst>
            <pc:docMk/>
            <pc:sldMk cId="1836638084" sldId="257"/>
            <ac:picMk id="7" creationId="{DC70BCB5-C7E3-023B-8024-C12228A4DD26}"/>
          </ac:picMkLst>
        </pc:picChg>
      </pc:sldChg>
      <pc:sldChg chg="modSp mod modAnim modNotesTx">
        <pc:chgData name="Vervloet, Toni" userId="f28533a5-53b3-4f10-93bf-dd331599556d" providerId="ADAL" clId="{867EDD7F-81F9-4771-A974-919973341291}" dt="2023-06-23T12:54:53.067" v="7264"/>
        <pc:sldMkLst>
          <pc:docMk/>
          <pc:sldMk cId="3397427048" sldId="258"/>
        </pc:sldMkLst>
        <pc:spChg chg="mod">
          <ac:chgData name="Vervloet, Toni" userId="f28533a5-53b3-4f10-93bf-dd331599556d" providerId="ADAL" clId="{867EDD7F-81F9-4771-A974-919973341291}" dt="2023-06-23T06:47:44.998" v="7179" actId="1037"/>
          <ac:spMkLst>
            <pc:docMk/>
            <pc:sldMk cId="3397427048" sldId="258"/>
            <ac:spMk id="2" creationId="{793D91DF-4427-47DB-79BA-2F8B12080944}"/>
          </ac:spMkLst>
        </pc:spChg>
        <pc:spChg chg="mod">
          <ac:chgData name="Vervloet, Toni" userId="f28533a5-53b3-4f10-93bf-dd331599556d" providerId="ADAL" clId="{867EDD7F-81F9-4771-A974-919973341291}" dt="2023-06-23T12:54:53.067" v="7264"/>
          <ac:spMkLst>
            <pc:docMk/>
            <pc:sldMk cId="3397427048" sldId="258"/>
            <ac:spMk id="3" creationId="{7AD2C646-ABE7-E893-0CD9-843A4C232524}"/>
          </ac:spMkLst>
        </pc:spChg>
      </pc:sldChg>
      <pc:sldChg chg="addSp delSp modSp mod modTransition modAnim modNotesTx">
        <pc:chgData name="Vervloet, Toni" userId="f28533a5-53b3-4f10-93bf-dd331599556d" providerId="ADAL" clId="{867EDD7F-81F9-4771-A974-919973341291}" dt="2023-06-21T12:57:18.246" v="7104"/>
        <pc:sldMkLst>
          <pc:docMk/>
          <pc:sldMk cId="1788363932" sldId="2682"/>
        </pc:sldMkLst>
        <pc:spChg chg="add mod ord">
          <ac:chgData name="Vervloet, Toni" userId="f28533a5-53b3-4f10-93bf-dd331599556d" providerId="ADAL" clId="{867EDD7F-81F9-4771-A974-919973341291}" dt="2023-06-14T14:13:01.908" v="5826" actId="14100"/>
          <ac:spMkLst>
            <pc:docMk/>
            <pc:sldMk cId="1788363932" sldId="2682"/>
            <ac:spMk id="3" creationId="{29A9FA4D-6071-612C-20C5-0C72D379E8EB}"/>
          </ac:spMkLst>
        </pc:spChg>
        <pc:spChg chg="mod">
          <ac:chgData name="Vervloet, Toni" userId="f28533a5-53b3-4f10-93bf-dd331599556d" providerId="ADAL" clId="{867EDD7F-81F9-4771-A974-919973341291}" dt="2023-06-18T11:20:28.737" v="6497" actId="790"/>
          <ac:spMkLst>
            <pc:docMk/>
            <pc:sldMk cId="1788363932" sldId="2682"/>
            <ac:spMk id="65" creationId="{0EBD92D1-BF5F-EE48-9B44-E9C5D154DF28}"/>
          </ac:spMkLst>
        </pc:spChg>
        <pc:grpChg chg="add mod">
          <ac:chgData name="Vervloet, Toni" userId="f28533a5-53b3-4f10-93bf-dd331599556d" providerId="ADAL" clId="{867EDD7F-81F9-4771-A974-919973341291}" dt="2023-06-20T15:42:36.613" v="6834" actId="14861"/>
          <ac:grpSpMkLst>
            <pc:docMk/>
            <pc:sldMk cId="1788363932" sldId="2682"/>
            <ac:grpSpMk id="5" creationId="{16D8C4B2-1496-28EC-9AAC-9958F6C9F518}"/>
          </ac:grpSpMkLst>
        </pc:grpChg>
        <pc:grpChg chg="add del mod">
          <ac:chgData name="Vervloet, Toni" userId="f28533a5-53b3-4f10-93bf-dd331599556d" providerId="ADAL" clId="{867EDD7F-81F9-4771-A974-919973341291}" dt="2023-06-14T14:11:19.886" v="5797" actId="478"/>
          <ac:grpSpMkLst>
            <pc:docMk/>
            <pc:sldMk cId="1788363932" sldId="2682"/>
            <ac:grpSpMk id="6" creationId="{C021E103-5118-AE80-624A-3DB2E2592761}"/>
          </ac:grpSpMkLst>
        </pc:grpChg>
        <pc:picChg chg="mod">
          <ac:chgData name="Vervloet, Toni" userId="f28533a5-53b3-4f10-93bf-dd331599556d" providerId="ADAL" clId="{867EDD7F-81F9-4771-A974-919973341291}" dt="2023-06-14T14:14:46.848" v="5832" actId="1035"/>
          <ac:picMkLst>
            <pc:docMk/>
            <pc:sldMk cId="1788363932" sldId="2682"/>
            <ac:picMk id="2" creationId="{972D20DE-2B24-A665-EBCC-9F5EC2BC0B11}"/>
          </ac:picMkLst>
        </pc:picChg>
        <pc:picChg chg="ord">
          <ac:chgData name="Vervloet, Toni" userId="f28533a5-53b3-4f10-93bf-dd331599556d" providerId="ADAL" clId="{867EDD7F-81F9-4771-A974-919973341291}" dt="2023-06-05T09:20:20.224" v="3916" actId="170"/>
          <ac:picMkLst>
            <pc:docMk/>
            <pc:sldMk cId="1788363932" sldId="2682"/>
            <ac:picMk id="4" creationId="{59EB6EFA-537B-2E44-9E4F-F0D4332B3F71}"/>
          </ac:picMkLst>
        </pc:picChg>
        <pc:picChg chg="mod ord">
          <ac:chgData name="Vervloet, Toni" userId="f28533a5-53b3-4f10-93bf-dd331599556d" providerId="ADAL" clId="{867EDD7F-81F9-4771-A974-919973341291}" dt="2023-06-20T15:42:18.386" v="6833" actId="14861"/>
          <ac:picMkLst>
            <pc:docMk/>
            <pc:sldMk cId="1788363932" sldId="2682"/>
            <ac:picMk id="7" creationId="{7A811546-FD96-1BA6-BEAE-4FCDEE5CD125}"/>
          </ac:picMkLst>
        </pc:picChg>
        <pc:picChg chg="mod">
          <ac:chgData name="Vervloet, Toni" userId="f28533a5-53b3-4f10-93bf-dd331599556d" providerId="ADAL" clId="{867EDD7F-81F9-4771-A974-919973341291}" dt="2023-06-14T14:20:28.569" v="5908" actId="1037"/>
          <ac:picMkLst>
            <pc:docMk/>
            <pc:sldMk cId="1788363932" sldId="2682"/>
            <ac:picMk id="8" creationId="{043D2D67-990B-47F2-2CF7-806BE483533D}"/>
          </ac:picMkLst>
        </pc:picChg>
        <pc:picChg chg="del mod">
          <ac:chgData name="Vervloet, Toni" userId="f28533a5-53b3-4f10-93bf-dd331599556d" providerId="ADAL" clId="{867EDD7F-81F9-4771-A974-919973341291}" dt="2023-06-14T14:11:19.886" v="5797" actId="478"/>
          <ac:picMkLst>
            <pc:docMk/>
            <pc:sldMk cId="1788363932" sldId="2682"/>
            <ac:picMk id="8" creationId="{D31820B7-9554-5934-EA2D-683412DE56BD}"/>
          </ac:picMkLst>
        </pc:picChg>
        <pc:picChg chg="add mod">
          <ac:chgData name="Vervloet, Toni" userId="f28533a5-53b3-4f10-93bf-dd331599556d" providerId="ADAL" clId="{867EDD7F-81F9-4771-A974-919973341291}" dt="2023-06-14T14:14:46.848" v="5832" actId="1035"/>
          <ac:picMkLst>
            <pc:docMk/>
            <pc:sldMk cId="1788363932" sldId="2682"/>
            <ac:picMk id="41986" creationId="{93914C5E-D641-D285-387C-A2650FDA9AD0}"/>
          </ac:picMkLst>
        </pc:picChg>
      </pc:sldChg>
      <pc:sldChg chg="del">
        <pc:chgData name="Vervloet, Toni" userId="f28533a5-53b3-4f10-93bf-dd331599556d" providerId="ADAL" clId="{867EDD7F-81F9-4771-A974-919973341291}" dt="2023-06-05T12:52:25.474" v="4492" actId="47"/>
        <pc:sldMkLst>
          <pc:docMk/>
          <pc:sldMk cId="937078507" sldId="2147469525"/>
        </pc:sldMkLst>
      </pc:sldChg>
      <pc:sldChg chg="addSp modSp mod modTransition modAnim modNotesTx">
        <pc:chgData name="Vervloet, Toni" userId="f28533a5-53b3-4f10-93bf-dd331599556d" providerId="ADAL" clId="{867EDD7F-81F9-4771-A974-919973341291}" dt="2023-06-26T15:46:50.776" v="7280" actId="368"/>
        <pc:sldMkLst>
          <pc:docMk/>
          <pc:sldMk cId="2507184362" sldId="2147469527"/>
        </pc:sldMkLst>
        <pc:spChg chg="mod">
          <ac:chgData name="Vervloet, Toni" userId="f28533a5-53b3-4f10-93bf-dd331599556d" providerId="ADAL" clId="{867EDD7F-81F9-4771-A974-919973341291}" dt="2023-06-18T11:23:02.997" v="6500" actId="404"/>
          <ac:spMkLst>
            <pc:docMk/>
            <pc:sldMk cId="2507184362" sldId="2147469527"/>
            <ac:spMk id="5" creationId="{A6BD051E-82B7-47D2-8EF8-320D329FCC0F}"/>
          </ac:spMkLst>
        </pc:spChg>
        <pc:spChg chg="mod">
          <ac:chgData name="Vervloet, Toni" userId="f28533a5-53b3-4f10-93bf-dd331599556d" providerId="ADAL" clId="{867EDD7F-81F9-4771-A974-919973341291}" dt="2023-06-05T09:39:10.803" v="4176" actId="164"/>
          <ac:spMkLst>
            <pc:docMk/>
            <pc:sldMk cId="2507184362" sldId="2147469527"/>
            <ac:spMk id="22" creationId="{93EDBBBE-8B9B-483C-A1B7-EFF4C9B93876}"/>
          </ac:spMkLst>
        </pc:spChg>
        <pc:spChg chg="mod">
          <ac:chgData name="Vervloet, Toni" userId="f28533a5-53b3-4f10-93bf-dd331599556d" providerId="ADAL" clId="{867EDD7F-81F9-4771-A974-919973341291}" dt="2023-06-05T09:39:15.434" v="4177" actId="164"/>
          <ac:spMkLst>
            <pc:docMk/>
            <pc:sldMk cId="2507184362" sldId="2147469527"/>
            <ac:spMk id="23" creationId="{AD54E862-1412-4970-BD6D-F986FEC13084}"/>
          </ac:spMkLst>
        </pc:spChg>
        <pc:spChg chg="mod">
          <ac:chgData name="Vervloet, Toni" userId="f28533a5-53b3-4f10-93bf-dd331599556d" providerId="ADAL" clId="{867EDD7F-81F9-4771-A974-919973341291}" dt="2023-06-23T12:06:10.354" v="7194" actId="113"/>
          <ac:spMkLst>
            <pc:docMk/>
            <pc:sldMk cId="2507184362" sldId="2147469527"/>
            <ac:spMk id="39" creationId="{6B6772D9-200C-4A4A-8D09-55C1003FF61C}"/>
          </ac:spMkLst>
        </pc:spChg>
        <pc:spChg chg="mod">
          <ac:chgData name="Vervloet, Toni" userId="f28533a5-53b3-4f10-93bf-dd331599556d" providerId="ADAL" clId="{867EDD7F-81F9-4771-A974-919973341291}" dt="2023-06-23T12:06:00.123" v="7192" actId="113"/>
          <ac:spMkLst>
            <pc:docMk/>
            <pc:sldMk cId="2507184362" sldId="2147469527"/>
            <ac:spMk id="40" creationId="{250D9154-EDC9-48B1-B2B2-FEE9AF53CB4D}"/>
          </ac:spMkLst>
        </pc:spChg>
        <pc:spChg chg="mod">
          <ac:chgData name="Vervloet, Toni" userId="f28533a5-53b3-4f10-93bf-dd331599556d" providerId="ADAL" clId="{867EDD7F-81F9-4771-A974-919973341291}" dt="2023-06-23T12:06:14.485" v="7195" actId="113"/>
          <ac:spMkLst>
            <pc:docMk/>
            <pc:sldMk cId="2507184362" sldId="2147469527"/>
            <ac:spMk id="41" creationId="{3C0D10B6-DFC1-49E8-9E3F-06E8EA7B0B4B}"/>
          </ac:spMkLst>
        </pc:spChg>
        <pc:grpChg chg="add mod">
          <ac:chgData name="Vervloet, Toni" userId="f28533a5-53b3-4f10-93bf-dd331599556d" providerId="ADAL" clId="{867EDD7F-81F9-4771-A974-919973341291}" dt="2023-06-05T09:39:09.015" v="4175" actId="164"/>
          <ac:grpSpMkLst>
            <pc:docMk/>
            <pc:sldMk cId="2507184362" sldId="2147469527"/>
            <ac:grpSpMk id="2" creationId="{8A16CF78-3A34-7CFA-BC11-70CDF9F1E695}"/>
          </ac:grpSpMkLst>
        </pc:grpChg>
        <pc:grpChg chg="add mod">
          <ac:chgData name="Vervloet, Toni" userId="f28533a5-53b3-4f10-93bf-dd331599556d" providerId="ADAL" clId="{867EDD7F-81F9-4771-A974-919973341291}" dt="2023-06-05T09:39:10.803" v="4176" actId="164"/>
          <ac:grpSpMkLst>
            <pc:docMk/>
            <pc:sldMk cId="2507184362" sldId="2147469527"/>
            <ac:grpSpMk id="3" creationId="{F9412E24-C175-0D1C-5BC3-CA7758A71B88}"/>
          </ac:grpSpMkLst>
        </pc:grpChg>
        <pc:grpChg chg="add mod">
          <ac:chgData name="Vervloet, Toni" userId="f28533a5-53b3-4f10-93bf-dd331599556d" providerId="ADAL" clId="{867EDD7F-81F9-4771-A974-919973341291}" dt="2023-06-05T09:39:15.434" v="4177" actId="164"/>
          <ac:grpSpMkLst>
            <pc:docMk/>
            <pc:sldMk cId="2507184362" sldId="2147469527"/>
            <ac:grpSpMk id="4" creationId="{C5C53DEF-241E-81E3-5A29-DC66A293FF03}"/>
          </ac:grpSpMkLst>
        </pc:grpChg>
        <pc:picChg chg="mod">
          <ac:chgData name="Vervloet, Toni" userId="f28533a5-53b3-4f10-93bf-dd331599556d" providerId="ADAL" clId="{867EDD7F-81F9-4771-A974-919973341291}" dt="2023-06-05T09:39:09.015" v="4175" actId="164"/>
          <ac:picMkLst>
            <pc:docMk/>
            <pc:sldMk cId="2507184362" sldId="2147469527"/>
            <ac:picMk id="10" creationId="{6EAF1567-46CE-470A-9E09-F980D4C0B342}"/>
          </ac:picMkLst>
        </pc:picChg>
      </pc:sldChg>
      <pc:sldChg chg="addSp delSp modSp mod modTransition delAnim modAnim modNotes modNotesTx">
        <pc:chgData name="Vervloet, Toni" userId="f28533a5-53b3-4f10-93bf-dd331599556d" providerId="ADAL" clId="{867EDD7F-81F9-4771-A974-919973341291}" dt="2023-06-26T15:46:32.377" v="7279" actId="27636"/>
        <pc:sldMkLst>
          <pc:docMk/>
          <pc:sldMk cId="2767927351" sldId="2147469546"/>
        </pc:sldMkLst>
        <pc:spChg chg="mod">
          <ac:chgData name="Vervloet, Toni" userId="f28533a5-53b3-4f10-93bf-dd331599556d" providerId="ADAL" clId="{867EDD7F-81F9-4771-A974-919973341291}" dt="2023-06-02T11:26:09.807" v="931" actId="14100"/>
          <ac:spMkLst>
            <pc:docMk/>
            <pc:sldMk cId="2767927351" sldId="2147469546"/>
            <ac:spMk id="2" creationId="{0B456289-2F8C-46ED-8EF5-AEF0B181A879}"/>
          </ac:spMkLst>
        </pc:spChg>
        <pc:spChg chg="add mod">
          <ac:chgData name="Vervloet, Toni" userId="f28533a5-53b3-4f10-93bf-dd331599556d" providerId="ADAL" clId="{867EDD7F-81F9-4771-A974-919973341291}" dt="2023-06-18T11:50:48.467" v="6519" actId="14100"/>
          <ac:spMkLst>
            <pc:docMk/>
            <pc:sldMk cId="2767927351" sldId="2147469546"/>
            <ac:spMk id="13" creationId="{737B5916-4CEC-7ED6-BE32-88E7C8CF757C}"/>
          </ac:spMkLst>
        </pc:spChg>
        <pc:spChg chg="add mod">
          <ac:chgData name="Vervloet, Toni" userId="f28533a5-53b3-4f10-93bf-dd331599556d" providerId="ADAL" clId="{867EDD7F-81F9-4771-A974-919973341291}" dt="2023-06-18T11:50:44.979" v="6518" actId="14100"/>
          <ac:spMkLst>
            <pc:docMk/>
            <pc:sldMk cId="2767927351" sldId="2147469546"/>
            <ac:spMk id="14" creationId="{99A8F288-F402-175D-F7DD-99073BC6FA7D}"/>
          </ac:spMkLst>
        </pc:spChg>
        <pc:spChg chg="add mod">
          <ac:chgData name="Vervloet, Toni" userId="f28533a5-53b3-4f10-93bf-dd331599556d" providerId="ADAL" clId="{867EDD7F-81F9-4771-A974-919973341291}" dt="2023-06-18T11:50:51.871" v="6520" actId="14100"/>
          <ac:spMkLst>
            <pc:docMk/>
            <pc:sldMk cId="2767927351" sldId="2147469546"/>
            <ac:spMk id="15" creationId="{A3498BE2-01E1-8AD8-3629-6755543A1782}"/>
          </ac:spMkLst>
        </pc:spChg>
        <pc:spChg chg="mod">
          <ac:chgData name="Vervloet, Toni" userId="f28533a5-53b3-4f10-93bf-dd331599556d" providerId="ADAL" clId="{867EDD7F-81F9-4771-A974-919973341291}" dt="2023-06-05T12:47:55.379" v="4336" actId="1076"/>
          <ac:spMkLst>
            <pc:docMk/>
            <pc:sldMk cId="2767927351" sldId="2147469546"/>
            <ac:spMk id="17" creationId="{3D0CA0EA-9A6F-4A14-9A09-5C8D53F9822A}"/>
          </ac:spMkLst>
        </pc:spChg>
        <pc:spChg chg="mod">
          <ac:chgData name="Vervloet, Toni" userId="f28533a5-53b3-4f10-93bf-dd331599556d" providerId="ADAL" clId="{867EDD7F-81F9-4771-A974-919973341291}" dt="2023-06-05T12:47:55.379" v="4336" actId="1076"/>
          <ac:spMkLst>
            <pc:docMk/>
            <pc:sldMk cId="2767927351" sldId="2147469546"/>
            <ac:spMk id="18" creationId="{41823989-5D92-4C17-8790-D029CD6DD3F3}"/>
          </ac:spMkLst>
        </pc:spChg>
        <pc:spChg chg="mod">
          <ac:chgData name="Vervloet, Toni" userId="f28533a5-53b3-4f10-93bf-dd331599556d" providerId="ADAL" clId="{867EDD7F-81F9-4771-A974-919973341291}" dt="2023-06-05T12:47:55.379" v="4336" actId="1076"/>
          <ac:spMkLst>
            <pc:docMk/>
            <pc:sldMk cId="2767927351" sldId="2147469546"/>
            <ac:spMk id="22" creationId="{193524CE-AECA-4674-879F-960CA3B03785}"/>
          </ac:spMkLst>
        </pc:spChg>
        <pc:spChg chg="mod">
          <ac:chgData name="Vervloet, Toni" userId="f28533a5-53b3-4f10-93bf-dd331599556d" providerId="ADAL" clId="{867EDD7F-81F9-4771-A974-919973341291}" dt="2023-06-05T12:47:55.379" v="4336" actId="1076"/>
          <ac:spMkLst>
            <pc:docMk/>
            <pc:sldMk cId="2767927351" sldId="2147469546"/>
            <ac:spMk id="23" creationId="{6D92BA22-827C-4283-8263-532D94BC0E81}"/>
          </ac:spMkLst>
        </pc:spChg>
        <pc:spChg chg="del mod topLvl">
          <ac:chgData name="Vervloet, Toni" userId="f28533a5-53b3-4f10-93bf-dd331599556d" providerId="ADAL" clId="{867EDD7F-81F9-4771-A974-919973341291}" dt="2023-06-05T12:47:57.765" v="4338" actId="478"/>
          <ac:spMkLst>
            <pc:docMk/>
            <pc:sldMk cId="2767927351" sldId="2147469546"/>
            <ac:spMk id="24" creationId="{4066604B-40E9-4338-AF87-0C06820377C7}"/>
          </ac:spMkLst>
        </pc:spChg>
        <pc:spChg chg="mod">
          <ac:chgData name="Vervloet, Toni" userId="f28533a5-53b3-4f10-93bf-dd331599556d" providerId="ADAL" clId="{867EDD7F-81F9-4771-A974-919973341291}" dt="2023-06-05T12:47:55.379" v="4336" actId="1076"/>
          <ac:spMkLst>
            <pc:docMk/>
            <pc:sldMk cId="2767927351" sldId="2147469546"/>
            <ac:spMk id="26" creationId="{00619250-3C53-425C-9EC4-A7393D91FEA9}"/>
          </ac:spMkLst>
        </pc:spChg>
        <pc:spChg chg="del mod topLvl">
          <ac:chgData name="Vervloet, Toni" userId="f28533a5-53b3-4f10-93bf-dd331599556d" providerId="ADAL" clId="{867EDD7F-81F9-4771-A974-919973341291}" dt="2023-06-05T12:48:10.428" v="4342" actId="478"/>
          <ac:spMkLst>
            <pc:docMk/>
            <pc:sldMk cId="2767927351" sldId="2147469546"/>
            <ac:spMk id="30" creationId="{C45E6AF4-8336-4D06-AC87-AFD8F99B4EE5}"/>
          </ac:spMkLst>
        </pc:spChg>
        <pc:grpChg chg="add mod">
          <ac:chgData name="Vervloet, Toni" userId="f28533a5-53b3-4f10-93bf-dd331599556d" providerId="ADAL" clId="{867EDD7F-81F9-4771-A974-919973341291}" dt="2023-06-05T12:45:11.328" v="4304" actId="164"/>
          <ac:grpSpMkLst>
            <pc:docMk/>
            <pc:sldMk cId="2767927351" sldId="2147469546"/>
            <ac:grpSpMk id="3" creationId="{0FFBD656-7163-6BE6-70EA-387610A5AE9E}"/>
          </ac:grpSpMkLst>
        </pc:grpChg>
        <pc:grpChg chg="add mod">
          <ac:chgData name="Vervloet, Toni" userId="f28533a5-53b3-4f10-93bf-dd331599556d" providerId="ADAL" clId="{867EDD7F-81F9-4771-A974-919973341291}" dt="2023-06-05T12:45:10.931" v="4303" actId="164"/>
          <ac:grpSpMkLst>
            <pc:docMk/>
            <pc:sldMk cId="2767927351" sldId="2147469546"/>
            <ac:grpSpMk id="5" creationId="{504E23A2-31A0-091E-D812-0D35D221BDD7}"/>
          </ac:grpSpMkLst>
        </pc:grpChg>
        <pc:grpChg chg="add mod">
          <ac:chgData name="Vervloet, Toni" userId="f28533a5-53b3-4f10-93bf-dd331599556d" providerId="ADAL" clId="{867EDD7F-81F9-4771-A974-919973341291}" dt="2023-06-05T12:45:10.580" v="4302" actId="164"/>
          <ac:grpSpMkLst>
            <pc:docMk/>
            <pc:sldMk cId="2767927351" sldId="2147469546"/>
            <ac:grpSpMk id="6" creationId="{B901D848-2CE3-54C4-5AFE-980B7831E80B}"/>
          </ac:grpSpMkLst>
        </pc:grpChg>
        <pc:grpChg chg="add del mod">
          <ac:chgData name="Vervloet, Toni" userId="f28533a5-53b3-4f10-93bf-dd331599556d" providerId="ADAL" clId="{867EDD7F-81F9-4771-A974-919973341291}" dt="2023-06-05T12:47:56.171" v="4337" actId="478"/>
          <ac:grpSpMkLst>
            <pc:docMk/>
            <pc:sldMk cId="2767927351" sldId="2147469546"/>
            <ac:grpSpMk id="8" creationId="{4F6A364C-F65C-B469-C6AD-F3B224E5C85E}"/>
          </ac:grpSpMkLst>
        </pc:grpChg>
        <pc:grpChg chg="add del mod">
          <ac:chgData name="Vervloet, Toni" userId="f28533a5-53b3-4f10-93bf-dd331599556d" providerId="ADAL" clId="{867EDD7F-81F9-4771-A974-919973341291}" dt="2023-06-05T12:47:56.171" v="4337" actId="478"/>
          <ac:grpSpMkLst>
            <pc:docMk/>
            <pc:sldMk cId="2767927351" sldId="2147469546"/>
            <ac:grpSpMk id="9" creationId="{BA37F07E-5FF4-2B1D-3EAC-EDB214FCA9A0}"/>
          </ac:grpSpMkLst>
        </pc:grpChg>
        <pc:grpChg chg="add del mod">
          <ac:chgData name="Vervloet, Toni" userId="f28533a5-53b3-4f10-93bf-dd331599556d" providerId="ADAL" clId="{867EDD7F-81F9-4771-A974-919973341291}" dt="2023-06-05T12:47:56.171" v="4337" actId="478"/>
          <ac:grpSpMkLst>
            <pc:docMk/>
            <pc:sldMk cId="2767927351" sldId="2147469546"/>
            <ac:grpSpMk id="10" creationId="{043757A8-BD79-C077-4156-51A4BADD61CA}"/>
          </ac:grpSpMkLst>
        </pc:grpChg>
        <pc:grpChg chg="add mod">
          <ac:chgData name="Vervloet, Toni" userId="f28533a5-53b3-4f10-93bf-dd331599556d" providerId="ADAL" clId="{867EDD7F-81F9-4771-A974-919973341291}" dt="2023-06-05T12:45:47.662" v="4319" actId="164"/>
          <ac:grpSpMkLst>
            <pc:docMk/>
            <pc:sldMk cId="2767927351" sldId="2147469546"/>
            <ac:grpSpMk id="11" creationId="{F8C78B21-3CC9-6EB9-01CA-827867A136F2}"/>
          </ac:grpSpMkLst>
        </pc:grpChg>
        <pc:grpChg chg="add del mod">
          <ac:chgData name="Vervloet, Toni" userId="f28533a5-53b3-4f10-93bf-dd331599556d" providerId="ADAL" clId="{867EDD7F-81F9-4771-A974-919973341291}" dt="2023-06-05T12:47:57.765" v="4338" actId="478"/>
          <ac:grpSpMkLst>
            <pc:docMk/>
            <pc:sldMk cId="2767927351" sldId="2147469546"/>
            <ac:grpSpMk id="12" creationId="{51984B54-BDDD-F3E2-ECCB-CC7CF4E91EBA}"/>
          </ac:grpSpMkLst>
        </pc:grpChg>
        <pc:picChg chg="add mod modCrop">
          <ac:chgData name="Vervloet, Toni" userId="f28533a5-53b3-4f10-93bf-dd331599556d" providerId="ADAL" clId="{867EDD7F-81F9-4771-A974-919973341291}" dt="2023-06-23T12:15:14.905" v="7252" actId="14100"/>
          <ac:picMkLst>
            <pc:docMk/>
            <pc:sldMk cId="2767927351" sldId="2147469546"/>
            <ac:picMk id="3" creationId="{9CE7DAB9-6506-5505-A6F4-234C3213F385}"/>
          </ac:picMkLst>
        </pc:picChg>
        <pc:picChg chg="mod modCrop">
          <ac:chgData name="Vervloet, Toni" userId="f28533a5-53b3-4f10-93bf-dd331599556d" providerId="ADAL" clId="{867EDD7F-81F9-4771-A974-919973341291}" dt="2023-06-23T12:13:20.040" v="7248" actId="14100"/>
          <ac:picMkLst>
            <pc:docMk/>
            <pc:sldMk cId="2767927351" sldId="2147469546"/>
            <ac:picMk id="4" creationId="{0F98A9E0-1781-1187-2A89-B816817199FB}"/>
          </ac:picMkLst>
        </pc:picChg>
        <pc:picChg chg="mod">
          <ac:chgData name="Vervloet, Toni" userId="f28533a5-53b3-4f10-93bf-dd331599556d" providerId="ADAL" clId="{867EDD7F-81F9-4771-A974-919973341291}" dt="2023-06-05T12:47:55.379" v="4336" actId="1076"/>
          <ac:picMkLst>
            <pc:docMk/>
            <pc:sldMk cId="2767927351" sldId="2147469546"/>
            <ac:picMk id="7" creationId="{8CC94122-3CAB-4580-8B24-D63DE063E926}"/>
          </ac:picMkLst>
        </pc:picChg>
        <pc:cxnChg chg="add mod">
          <ac:chgData name="Vervloet, Toni" userId="f28533a5-53b3-4f10-93bf-dd331599556d" providerId="ADAL" clId="{867EDD7F-81F9-4771-A974-919973341291}" dt="2023-06-18T13:13:06.845" v="6525" actId="1036"/>
          <ac:cxnSpMkLst>
            <pc:docMk/>
            <pc:sldMk cId="2767927351" sldId="2147469546"/>
            <ac:cxnSpMk id="19" creationId="{5E3CED11-AECF-E032-FEE1-3035A8DD7472}"/>
          </ac:cxnSpMkLst>
        </pc:cxnChg>
      </pc:sldChg>
      <pc:sldChg chg="addSp delSp modSp mod modClrScheme addAnim delAnim modAnim chgLayout modNotesTx">
        <pc:chgData name="Vervloet, Toni" userId="f28533a5-53b3-4f10-93bf-dd331599556d" providerId="ADAL" clId="{867EDD7F-81F9-4771-A974-919973341291}" dt="2023-06-21T12:54:46.573" v="6855" actId="6549"/>
        <pc:sldMkLst>
          <pc:docMk/>
          <pc:sldMk cId="3580978443" sldId="2147469549"/>
        </pc:sldMkLst>
        <pc:spChg chg="del mod">
          <ac:chgData name="Vervloet, Toni" userId="f28533a5-53b3-4f10-93bf-dd331599556d" providerId="ADAL" clId="{867EDD7F-81F9-4771-A974-919973341291}" dt="2023-06-02T12:18:06.719" v="2017" actId="478"/>
          <ac:spMkLst>
            <pc:docMk/>
            <pc:sldMk cId="3580978443" sldId="2147469549"/>
            <ac:spMk id="2" creationId="{26B1E595-8D2B-FCC0-3450-88F880E14FEF}"/>
          </ac:spMkLst>
        </pc:spChg>
        <pc:spChg chg="add del mod ord">
          <ac:chgData name="Vervloet, Toni" userId="f28533a5-53b3-4f10-93bf-dd331599556d" providerId="ADAL" clId="{867EDD7F-81F9-4771-A974-919973341291}" dt="2023-06-02T11:31:02.579" v="1050" actId="700"/>
          <ac:spMkLst>
            <pc:docMk/>
            <pc:sldMk cId="3580978443" sldId="2147469549"/>
            <ac:spMk id="3" creationId="{479407C0-41D7-9627-2F12-3E624A97B6C7}"/>
          </ac:spMkLst>
        </pc:spChg>
        <pc:spChg chg="add del mod">
          <ac:chgData name="Vervloet, Toni" userId="f28533a5-53b3-4f10-93bf-dd331599556d" providerId="ADAL" clId="{867EDD7F-81F9-4771-A974-919973341291}" dt="2023-06-20T15:14:37.606" v="6820" actId="478"/>
          <ac:spMkLst>
            <pc:docMk/>
            <pc:sldMk cId="3580978443" sldId="2147469549"/>
            <ac:spMk id="4" creationId="{24172B43-17EB-B806-81CC-C77D5EB7ADE0}"/>
          </ac:spMkLst>
        </pc:spChg>
        <pc:spChg chg="add del mod ord">
          <ac:chgData name="Vervloet, Toni" userId="f28533a5-53b3-4f10-93bf-dd331599556d" providerId="ADAL" clId="{867EDD7F-81F9-4771-A974-919973341291}" dt="2023-06-02T11:31:16.362" v="1054" actId="478"/>
          <ac:spMkLst>
            <pc:docMk/>
            <pc:sldMk cId="3580978443" sldId="2147469549"/>
            <ac:spMk id="4" creationId="{8618F457-1349-3CA7-FF85-B8F69EBABBA2}"/>
          </ac:spMkLst>
        </pc:spChg>
        <pc:spChg chg="add del mod ord">
          <ac:chgData name="Vervloet, Toni" userId="f28533a5-53b3-4f10-93bf-dd331599556d" providerId="ADAL" clId="{867EDD7F-81F9-4771-A974-919973341291}" dt="2023-06-02T11:31:11.162" v="1052" actId="478"/>
          <ac:spMkLst>
            <pc:docMk/>
            <pc:sldMk cId="3580978443" sldId="2147469549"/>
            <ac:spMk id="5" creationId="{C9805E54-2CA1-AB89-8914-04D3292AE5BF}"/>
          </ac:spMkLst>
        </pc:spChg>
        <pc:spChg chg="add mod ord">
          <ac:chgData name="Vervloet, Toni" userId="f28533a5-53b3-4f10-93bf-dd331599556d" providerId="ADAL" clId="{867EDD7F-81F9-4771-A974-919973341291}" dt="2023-06-02T11:31:02.579" v="1050" actId="700"/>
          <ac:spMkLst>
            <pc:docMk/>
            <pc:sldMk cId="3580978443" sldId="2147469549"/>
            <ac:spMk id="6" creationId="{EF822E2F-2F6F-1AE8-CBD7-22D413F680EE}"/>
          </ac:spMkLst>
        </pc:spChg>
        <pc:spChg chg="add mod">
          <ac:chgData name="Vervloet, Toni" userId="f28533a5-53b3-4f10-93bf-dd331599556d" providerId="ADAL" clId="{867EDD7F-81F9-4771-A974-919973341291}" dt="2023-06-02T12:18:04.625" v="2016" actId="20577"/>
          <ac:spMkLst>
            <pc:docMk/>
            <pc:sldMk cId="3580978443" sldId="2147469549"/>
            <ac:spMk id="7" creationId="{361DB462-A110-1A10-7B1B-3F5E78CADDEB}"/>
          </ac:spMkLst>
        </pc:spChg>
        <pc:spChg chg="add del mod ord">
          <ac:chgData name="Vervloet, Toni" userId="f28533a5-53b3-4f10-93bf-dd331599556d" providerId="ADAL" clId="{867EDD7F-81F9-4771-A974-919973341291}" dt="2023-06-20T15:15:46.491" v="6828" actId="5793"/>
          <ac:spMkLst>
            <pc:docMk/>
            <pc:sldMk cId="3580978443" sldId="2147469549"/>
            <ac:spMk id="8" creationId="{0315F19B-DA0F-4BE3-AD29-99CC1DEFB9B3}"/>
          </ac:spMkLst>
        </pc:spChg>
        <pc:picChg chg="add mod modCrop">
          <ac:chgData name="Vervloet, Toni" userId="f28533a5-53b3-4f10-93bf-dd331599556d" providerId="ADAL" clId="{867EDD7F-81F9-4771-A974-919973341291}" dt="2023-06-14T12:17:49.998" v="4950" actId="732"/>
          <ac:picMkLst>
            <pc:docMk/>
            <pc:sldMk cId="3580978443" sldId="2147469549"/>
            <ac:picMk id="3" creationId="{3EC02E91-8D6A-6ED9-8C6C-8705DCF9ADAD}"/>
          </ac:picMkLst>
        </pc:picChg>
        <pc:picChg chg="del mod">
          <ac:chgData name="Vervloet, Toni" userId="f28533a5-53b3-4f10-93bf-dd331599556d" providerId="ADAL" clId="{867EDD7F-81F9-4771-A974-919973341291}" dt="2023-06-02T12:58:32.328" v="2534" actId="478"/>
          <ac:picMkLst>
            <pc:docMk/>
            <pc:sldMk cId="3580978443" sldId="2147469549"/>
            <ac:picMk id="12" creationId="{52DB36BB-42CC-F38D-A44B-796E1DC87329}"/>
          </ac:picMkLst>
        </pc:picChg>
      </pc:sldChg>
      <pc:sldChg chg="del">
        <pc:chgData name="Vervloet, Toni" userId="f28533a5-53b3-4f10-93bf-dd331599556d" providerId="ADAL" clId="{867EDD7F-81F9-4771-A974-919973341291}" dt="2023-06-02T13:01:05.699" v="2550" actId="47"/>
        <pc:sldMkLst>
          <pc:docMk/>
          <pc:sldMk cId="3196080957" sldId="2147469695"/>
        </pc:sldMkLst>
      </pc:sldChg>
      <pc:sldChg chg="addSp delSp modSp mod ord">
        <pc:chgData name="Vervloet, Toni" userId="f28533a5-53b3-4f10-93bf-dd331599556d" providerId="ADAL" clId="{867EDD7F-81F9-4771-A974-919973341291}" dt="2023-06-21T13:02:53.515" v="7107" actId="2710"/>
        <pc:sldMkLst>
          <pc:docMk/>
          <pc:sldMk cId="122054948" sldId="2147469705"/>
        </pc:sldMkLst>
        <pc:spChg chg="mod">
          <ac:chgData name="Vervloet, Toni" userId="f28533a5-53b3-4f10-93bf-dd331599556d" providerId="ADAL" clId="{867EDD7F-81F9-4771-A974-919973341291}" dt="2023-06-02T13:01:51.415" v="2556" actId="14100"/>
          <ac:spMkLst>
            <pc:docMk/>
            <pc:sldMk cId="122054948" sldId="2147469705"/>
            <ac:spMk id="2" creationId="{1512FD47-EDA3-EF7C-B463-BF0E3FF6AA9E}"/>
          </ac:spMkLst>
        </pc:spChg>
        <pc:spChg chg="mod">
          <ac:chgData name="Vervloet, Toni" userId="f28533a5-53b3-4f10-93bf-dd331599556d" providerId="ADAL" clId="{867EDD7F-81F9-4771-A974-919973341291}" dt="2023-06-21T13:02:53.515" v="7107" actId="2710"/>
          <ac:spMkLst>
            <pc:docMk/>
            <pc:sldMk cId="122054948" sldId="2147469705"/>
            <ac:spMk id="3" creationId="{20614AF1-6E13-3505-F412-EB56413A5D6D}"/>
          </ac:spMkLst>
        </pc:spChg>
        <pc:spChg chg="add del mod">
          <ac:chgData name="Vervloet, Toni" userId="f28533a5-53b3-4f10-93bf-dd331599556d" providerId="ADAL" clId="{867EDD7F-81F9-4771-A974-919973341291}" dt="2023-06-14T13:29:38.722" v="5266" actId="478"/>
          <ac:spMkLst>
            <pc:docMk/>
            <pc:sldMk cId="122054948" sldId="2147469705"/>
            <ac:spMk id="6" creationId="{8C6D057D-5D1B-6C5E-B36D-7247BBBC3739}"/>
          </ac:spMkLst>
        </pc:spChg>
        <pc:spChg chg="add del mod">
          <ac:chgData name="Vervloet, Toni" userId="f28533a5-53b3-4f10-93bf-dd331599556d" providerId="ADAL" clId="{867EDD7F-81F9-4771-A974-919973341291}" dt="2023-06-14T13:29:38.722" v="5266" actId="478"/>
          <ac:spMkLst>
            <pc:docMk/>
            <pc:sldMk cId="122054948" sldId="2147469705"/>
            <ac:spMk id="9" creationId="{F018D9F1-B372-11E4-8664-EE1338DE040B}"/>
          </ac:spMkLst>
        </pc:spChg>
        <pc:spChg chg="add del mod">
          <ac:chgData name="Vervloet, Toni" userId="f28533a5-53b3-4f10-93bf-dd331599556d" providerId="ADAL" clId="{867EDD7F-81F9-4771-A974-919973341291}" dt="2023-06-14T14:08:54.589" v="5789" actId="21"/>
          <ac:spMkLst>
            <pc:docMk/>
            <pc:sldMk cId="122054948" sldId="2147469705"/>
            <ac:spMk id="14" creationId="{6ADBB1B8-7AC7-8F2C-0378-40BB43F445AD}"/>
          </ac:spMkLst>
        </pc:spChg>
        <pc:spChg chg="add del mod">
          <ac:chgData name="Vervloet, Toni" userId="f28533a5-53b3-4f10-93bf-dd331599556d" providerId="ADAL" clId="{867EDD7F-81F9-4771-A974-919973341291}" dt="2023-06-14T14:08:54.589" v="5789" actId="21"/>
          <ac:spMkLst>
            <pc:docMk/>
            <pc:sldMk cId="122054948" sldId="2147469705"/>
            <ac:spMk id="20" creationId="{5151C7C5-6596-B355-CD5E-4356EFC653F0}"/>
          </ac:spMkLst>
        </pc:spChg>
        <pc:spChg chg="add del mod">
          <ac:chgData name="Vervloet, Toni" userId="f28533a5-53b3-4f10-93bf-dd331599556d" providerId="ADAL" clId="{867EDD7F-81F9-4771-A974-919973341291}" dt="2023-06-14T14:08:54.589" v="5789" actId="21"/>
          <ac:spMkLst>
            <pc:docMk/>
            <pc:sldMk cId="122054948" sldId="2147469705"/>
            <ac:spMk id="28" creationId="{60C4B49C-5C7E-1676-FA46-6C28D932AA87}"/>
          </ac:spMkLst>
        </pc:spChg>
        <pc:spChg chg="add del mod">
          <ac:chgData name="Vervloet, Toni" userId="f28533a5-53b3-4f10-93bf-dd331599556d" providerId="ADAL" clId="{867EDD7F-81F9-4771-A974-919973341291}" dt="2023-06-14T14:08:54.589" v="5789" actId="21"/>
          <ac:spMkLst>
            <pc:docMk/>
            <pc:sldMk cId="122054948" sldId="2147469705"/>
            <ac:spMk id="39" creationId="{B8498B6B-432D-8368-102B-9A347B0D29D5}"/>
          </ac:spMkLst>
        </pc:spChg>
        <pc:spChg chg="add del mod">
          <ac:chgData name="Vervloet, Toni" userId="f28533a5-53b3-4f10-93bf-dd331599556d" providerId="ADAL" clId="{867EDD7F-81F9-4771-A974-919973341291}" dt="2023-06-14T14:08:54.589" v="5789" actId="21"/>
          <ac:spMkLst>
            <pc:docMk/>
            <pc:sldMk cId="122054948" sldId="2147469705"/>
            <ac:spMk id="46" creationId="{55C6D4B8-6CF4-0E0E-0316-199EFC653330}"/>
          </ac:spMkLst>
        </pc:spChg>
        <pc:picChg chg="add del mod">
          <ac:chgData name="Vervloet, Toni" userId="f28533a5-53b3-4f10-93bf-dd331599556d" providerId="ADAL" clId="{867EDD7F-81F9-4771-A974-919973341291}" dt="2023-06-14T13:29:38.722" v="5266" actId="478"/>
          <ac:picMkLst>
            <pc:docMk/>
            <pc:sldMk cId="122054948" sldId="2147469705"/>
            <ac:picMk id="5" creationId="{ABB373EF-716C-794A-1C0F-036D8912BE6D}"/>
          </ac:picMkLst>
        </pc:picChg>
        <pc:picChg chg="add del mod">
          <ac:chgData name="Vervloet, Toni" userId="f28533a5-53b3-4f10-93bf-dd331599556d" providerId="ADAL" clId="{867EDD7F-81F9-4771-A974-919973341291}" dt="2023-06-14T13:29:38.722" v="5266" actId="478"/>
          <ac:picMkLst>
            <pc:docMk/>
            <pc:sldMk cId="122054948" sldId="2147469705"/>
            <ac:picMk id="8" creationId="{F0B4775C-860A-4E1E-AA67-960464C774F6}"/>
          </ac:picMkLst>
        </pc:picChg>
        <pc:picChg chg="add mod modCrop">
          <ac:chgData name="Vervloet, Toni" userId="f28533a5-53b3-4f10-93bf-dd331599556d" providerId="ADAL" clId="{867EDD7F-81F9-4771-A974-919973341291}" dt="2023-06-14T14:09:03.279" v="5791" actId="1076"/>
          <ac:picMkLst>
            <pc:docMk/>
            <pc:sldMk cId="122054948" sldId="2147469705"/>
            <ac:picMk id="11" creationId="{C8E1D26F-E45D-ABB3-6512-DE5357B92028}"/>
          </ac:picMkLst>
        </pc:picChg>
        <pc:picChg chg="add del mod">
          <ac:chgData name="Vervloet, Toni" userId="f28533a5-53b3-4f10-93bf-dd331599556d" providerId="ADAL" clId="{867EDD7F-81F9-4771-A974-919973341291}" dt="2023-06-14T13:49:41.079" v="5590" actId="478"/>
          <ac:picMkLst>
            <pc:docMk/>
            <pc:sldMk cId="122054948" sldId="2147469705"/>
            <ac:picMk id="13" creationId="{C44EFFCF-FC43-80BD-97F1-4B7D10BB2862}"/>
          </ac:picMkLst>
        </pc:picChg>
        <pc:cxnChg chg="add del mod">
          <ac:chgData name="Vervloet, Toni" userId="f28533a5-53b3-4f10-93bf-dd331599556d" providerId="ADAL" clId="{867EDD7F-81F9-4771-A974-919973341291}" dt="2023-06-14T13:54:58.600" v="5696" actId="478"/>
          <ac:cxnSpMkLst>
            <pc:docMk/>
            <pc:sldMk cId="122054948" sldId="2147469705"/>
            <ac:cxnSpMk id="16" creationId="{B46411E9-F5CF-CFF4-E2B4-BE743592F61A}"/>
          </ac:cxnSpMkLst>
        </pc:cxnChg>
        <pc:cxnChg chg="add del mod">
          <ac:chgData name="Vervloet, Toni" userId="f28533a5-53b3-4f10-93bf-dd331599556d" providerId="ADAL" clId="{867EDD7F-81F9-4771-A974-919973341291}" dt="2023-06-14T13:54:45.468" v="5692" actId="478"/>
          <ac:cxnSpMkLst>
            <pc:docMk/>
            <pc:sldMk cId="122054948" sldId="2147469705"/>
            <ac:cxnSpMk id="23" creationId="{E478C0A9-2727-92D6-2487-993BF61442D1}"/>
          </ac:cxnSpMkLst>
        </pc:cxnChg>
        <pc:cxnChg chg="add del mod">
          <ac:chgData name="Vervloet, Toni" userId="f28533a5-53b3-4f10-93bf-dd331599556d" providerId="ADAL" clId="{867EDD7F-81F9-4771-A974-919973341291}" dt="2023-06-14T13:54:17.671" v="5688" actId="478"/>
          <ac:cxnSpMkLst>
            <pc:docMk/>
            <pc:sldMk cId="122054948" sldId="2147469705"/>
            <ac:cxnSpMk id="30" creationId="{65A4AEC3-FF60-CED8-F0AA-EC2E158661AA}"/>
          </ac:cxnSpMkLst>
        </pc:cxnChg>
        <pc:cxnChg chg="add del mod">
          <ac:chgData name="Vervloet, Toni" userId="f28533a5-53b3-4f10-93bf-dd331599556d" providerId="ADAL" clId="{867EDD7F-81F9-4771-A974-919973341291}" dt="2023-06-14T14:08:54.589" v="5789" actId="21"/>
          <ac:cxnSpMkLst>
            <pc:docMk/>
            <pc:sldMk cId="122054948" sldId="2147469705"/>
            <ac:cxnSpMk id="36" creationId="{DFAFBCE0-15F5-8C6A-1044-A555894C9BE3}"/>
          </ac:cxnSpMkLst>
        </pc:cxnChg>
        <pc:cxnChg chg="add del mod">
          <ac:chgData name="Vervloet, Toni" userId="f28533a5-53b3-4f10-93bf-dd331599556d" providerId="ADAL" clId="{867EDD7F-81F9-4771-A974-919973341291}" dt="2023-06-14T14:08:54.589" v="5789" actId="21"/>
          <ac:cxnSpMkLst>
            <pc:docMk/>
            <pc:sldMk cId="122054948" sldId="2147469705"/>
            <ac:cxnSpMk id="37" creationId="{C77B691C-F365-5222-CF51-03F318DB825B}"/>
          </ac:cxnSpMkLst>
        </pc:cxnChg>
        <pc:cxnChg chg="add del mod">
          <ac:chgData name="Vervloet, Toni" userId="f28533a5-53b3-4f10-93bf-dd331599556d" providerId="ADAL" clId="{867EDD7F-81F9-4771-A974-919973341291}" dt="2023-06-14T14:08:54.589" v="5789" actId="21"/>
          <ac:cxnSpMkLst>
            <pc:docMk/>
            <pc:sldMk cId="122054948" sldId="2147469705"/>
            <ac:cxnSpMk id="38" creationId="{2B12EABD-250A-4104-8F4E-EA919A9C8763}"/>
          </ac:cxnSpMkLst>
        </pc:cxnChg>
      </pc:sldChg>
      <pc:sldChg chg="modSp mod ord">
        <pc:chgData name="Vervloet, Toni" userId="f28533a5-53b3-4f10-93bf-dd331599556d" providerId="ADAL" clId="{867EDD7F-81F9-4771-A974-919973341291}" dt="2023-06-02T13:04:35.491" v="2564"/>
        <pc:sldMkLst>
          <pc:docMk/>
          <pc:sldMk cId="1222490168" sldId="2147469706"/>
        </pc:sldMkLst>
        <pc:spChg chg="mod">
          <ac:chgData name="Vervloet, Toni" userId="f28533a5-53b3-4f10-93bf-dd331599556d" providerId="ADAL" clId="{867EDD7F-81F9-4771-A974-919973341291}" dt="2023-06-02T13:00:04.633" v="2547" actId="1038"/>
          <ac:spMkLst>
            <pc:docMk/>
            <pc:sldMk cId="1222490168" sldId="2147469706"/>
            <ac:spMk id="3" creationId="{5D4774FD-0289-7B9A-4B92-1FC6BD23DFA1}"/>
          </ac:spMkLst>
        </pc:spChg>
        <pc:picChg chg="mod">
          <ac:chgData name="Vervloet, Toni" userId="f28533a5-53b3-4f10-93bf-dd331599556d" providerId="ADAL" clId="{867EDD7F-81F9-4771-A974-919973341291}" dt="2023-06-02T13:02:02.185" v="2557" actId="1076"/>
          <ac:picMkLst>
            <pc:docMk/>
            <pc:sldMk cId="1222490168" sldId="2147469706"/>
            <ac:picMk id="5" creationId="{AC1A1228-F2D4-35C3-B1BD-EEAD09EFF86F}"/>
          </ac:picMkLst>
        </pc:picChg>
      </pc:sldChg>
      <pc:sldChg chg="modSp mod ord">
        <pc:chgData name="Vervloet, Toni" userId="f28533a5-53b3-4f10-93bf-dd331599556d" providerId="ADAL" clId="{867EDD7F-81F9-4771-A974-919973341291}" dt="2023-06-02T13:04:35.491" v="2564"/>
        <pc:sldMkLst>
          <pc:docMk/>
          <pc:sldMk cId="1036238686" sldId="2147469707"/>
        </pc:sldMkLst>
        <pc:spChg chg="mod">
          <ac:chgData name="Vervloet, Toni" userId="f28533a5-53b3-4f10-93bf-dd331599556d" providerId="ADAL" clId="{867EDD7F-81F9-4771-A974-919973341291}" dt="2023-06-02T12:59:53.977" v="2543" actId="1038"/>
          <ac:spMkLst>
            <pc:docMk/>
            <pc:sldMk cId="1036238686" sldId="2147469707"/>
            <ac:spMk id="3" creationId="{AD9F4DA4-C22E-14F5-5852-B7DD02D8034C}"/>
          </ac:spMkLst>
        </pc:spChg>
        <pc:picChg chg="mod">
          <ac:chgData name="Vervloet, Toni" userId="f28533a5-53b3-4f10-93bf-dd331599556d" providerId="ADAL" clId="{867EDD7F-81F9-4771-A974-919973341291}" dt="2023-06-02T12:59:58.737" v="2544" actId="1076"/>
          <ac:picMkLst>
            <pc:docMk/>
            <pc:sldMk cId="1036238686" sldId="2147469707"/>
            <ac:picMk id="4" creationId="{5D3B2040-0340-93E8-1CFE-CE1444B32AC6}"/>
          </ac:picMkLst>
        </pc:picChg>
      </pc:sldChg>
      <pc:sldChg chg="modSp mod modAnim modNotesTx">
        <pc:chgData name="Vervloet, Toni" userId="f28533a5-53b3-4f10-93bf-dd331599556d" providerId="ADAL" clId="{867EDD7F-81F9-4771-A974-919973341291}" dt="2023-06-23T06:48:22.397" v="7188" actId="313"/>
        <pc:sldMkLst>
          <pc:docMk/>
          <pc:sldMk cId="2092685173" sldId="2147469710"/>
        </pc:sldMkLst>
        <pc:spChg chg="mod">
          <ac:chgData name="Vervloet, Toni" userId="f28533a5-53b3-4f10-93bf-dd331599556d" providerId="ADAL" clId="{867EDD7F-81F9-4771-A974-919973341291}" dt="2023-06-02T12:56:49.636" v="2530" actId="14100"/>
          <ac:spMkLst>
            <pc:docMk/>
            <pc:sldMk cId="2092685173" sldId="2147469710"/>
            <ac:spMk id="2" creationId="{7FB77D41-2FC5-7586-A518-0CF627A1C7CB}"/>
          </ac:spMkLst>
        </pc:spChg>
        <pc:graphicFrameChg chg="mod">
          <ac:chgData name="Vervloet, Toni" userId="f28533a5-53b3-4f10-93bf-dd331599556d" providerId="ADAL" clId="{867EDD7F-81F9-4771-A974-919973341291}" dt="2023-06-23T06:48:22.397" v="7188" actId="313"/>
          <ac:graphicFrameMkLst>
            <pc:docMk/>
            <pc:sldMk cId="2092685173" sldId="2147469710"/>
            <ac:graphicFrameMk id="4" creationId="{0D471D94-06E8-C5D6-4338-7A5619AA5421}"/>
          </ac:graphicFrameMkLst>
        </pc:graphicFrameChg>
      </pc:sldChg>
      <pc:sldChg chg="modSp mod modAnim modNotesTx">
        <pc:chgData name="Vervloet, Toni" userId="f28533a5-53b3-4f10-93bf-dd331599556d" providerId="ADAL" clId="{867EDD7F-81F9-4771-A974-919973341291}" dt="2023-06-21T13:20:28.271" v="7164"/>
        <pc:sldMkLst>
          <pc:docMk/>
          <pc:sldMk cId="445985952" sldId="2147469717"/>
        </pc:sldMkLst>
        <pc:graphicFrameChg chg="mod">
          <ac:chgData name="Vervloet, Toni" userId="f28533a5-53b3-4f10-93bf-dd331599556d" providerId="ADAL" clId="{867EDD7F-81F9-4771-A974-919973341291}" dt="2023-06-21T13:19:21.660" v="7162" actId="12269"/>
          <ac:graphicFrameMkLst>
            <pc:docMk/>
            <pc:sldMk cId="445985952" sldId="2147469717"/>
            <ac:graphicFrameMk id="6" creationId="{99A218E3-AD69-10F0-74A9-E22A05F2DD13}"/>
          </ac:graphicFrameMkLst>
        </pc:graphicFrameChg>
        <pc:picChg chg="mod">
          <ac:chgData name="Vervloet, Toni" userId="f28533a5-53b3-4f10-93bf-dd331599556d" providerId="ADAL" clId="{867EDD7F-81F9-4771-A974-919973341291}" dt="2023-06-19T07:54:30.451" v="6630" actId="1038"/>
          <ac:picMkLst>
            <pc:docMk/>
            <pc:sldMk cId="445985952" sldId="2147469717"/>
            <ac:picMk id="5" creationId="{A3094DE1-24CE-8131-2D8F-F52D5060EB23}"/>
          </ac:picMkLst>
        </pc:picChg>
      </pc:sldChg>
      <pc:sldChg chg="modSp mod modTransition modAnim modNotesTx">
        <pc:chgData name="Vervloet, Toni" userId="f28533a5-53b3-4f10-93bf-dd331599556d" providerId="ADAL" clId="{867EDD7F-81F9-4771-A974-919973341291}" dt="2023-06-20T15:49:09.200" v="6849"/>
        <pc:sldMkLst>
          <pc:docMk/>
          <pc:sldMk cId="1301564698" sldId="2147469718"/>
        </pc:sldMkLst>
        <pc:spChg chg="mod">
          <ac:chgData name="Vervloet, Toni" userId="f28533a5-53b3-4f10-93bf-dd331599556d" providerId="ADAL" clId="{867EDD7F-81F9-4771-A974-919973341291}" dt="2023-06-02T11:26:31.012" v="935" actId="1038"/>
          <ac:spMkLst>
            <pc:docMk/>
            <pc:sldMk cId="1301564698" sldId="2147469718"/>
            <ac:spMk id="5" creationId="{D3AA741D-95BA-0BE9-811D-DAA9EF262A23}"/>
          </ac:spMkLst>
        </pc:spChg>
        <pc:spChg chg="mod">
          <ac:chgData name="Vervloet, Toni" userId="f28533a5-53b3-4f10-93bf-dd331599556d" providerId="ADAL" clId="{867EDD7F-81F9-4771-A974-919973341291}" dt="2023-06-05T09:37:07.859" v="4026" actId="14100"/>
          <ac:spMkLst>
            <pc:docMk/>
            <pc:sldMk cId="1301564698" sldId="2147469718"/>
            <ac:spMk id="6" creationId="{C8C99135-7583-2EC8-A6D0-3A2524BB7F87}"/>
          </ac:spMkLst>
        </pc:spChg>
        <pc:picChg chg="mod">
          <ac:chgData name="Vervloet, Toni" userId="f28533a5-53b3-4f10-93bf-dd331599556d" providerId="ADAL" clId="{867EDD7F-81F9-4771-A974-919973341291}" dt="2023-06-05T09:27:27.109" v="4001" actId="1076"/>
          <ac:picMkLst>
            <pc:docMk/>
            <pc:sldMk cId="1301564698" sldId="2147469718"/>
            <ac:picMk id="3" creationId="{6AEB16DA-747D-F49D-C87A-698EB9692E49}"/>
          </ac:picMkLst>
        </pc:picChg>
      </pc:sldChg>
      <pc:sldChg chg="modSp del mod modShow modNotesTx">
        <pc:chgData name="Vervloet, Toni" userId="f28533a5-53b3-4f10-93bf-dd331599556d" providerId="ADAL" clId="{867EDD7F-81F9-4771-A974-919973341291}" dt="2023-06-02T12:57:59.415" v="2533" actId="47"/>
        <pc:sldMkLst>
          <pc:docMk/>
          <pc:sldMk cId="2800368159" sldId="2147469719"/>
        </pc:sldMkLst>
        <pc:spChg chg="mod">
          <ac:chgData name="Vervloet, Toni" userId="f28533a5-53b3-4f10-93bf-dd331599556d" providerId="ADAL" clId="{867EDD7F-81F9-4771-A974-919973341291}" dt="2023-06-02T11:35:21.493" v="1071" actId="2710"/>
          <ac:spMkLst>
            <pc:docMk/>
            <pc:sldMk cId="2800368159" sldId="2147469719"/>
            <ac:spMk id="3" creationId="{B0BDE5F6-4FBF-94C5-219D-BDBBCF051956}"/>
          </ac:spMkLst>
        </pc:spChg>
        <pc:spChg chg="mod">
          <ac:chgData name="Vervloet, Toni" userId="f28533a5-53b3-4f10-93bf-dd331599556d" providerId="ADAL" clId="{867EDD7F-81F9-4771-A974-919973341291}" dt="2023-06-02T12:04:36.243" v="1582" actId="20577"/>
          <ac:spMkLst>
            <pc:docMk/>
            <pc:sldMk cId="2800368159" sldId="2147469719"/>
            <ac:spMk id="4" creationId="{E974EAF7-5167-B2D4-E0D3-3BE28586940B}"/>
          </ac:spMkLst>
        </pc:spChg>
      </pc:sldChg>
      <pc:sldChg chg="addSp delSp modSp mod modClrScheme modAnim chgLayout modNotesTx">
        <pc:chgData name="Vervloet, Toni" userId="f28533a5-53b3-4f10-93bf-dd331599556d" providerId="ADAL" clId="{867EDD7F-81F9-4771-A974-919973341291}" dt="2023-06-21T13:10:47.180" v="7122"/>
        <pc:sldMkLst>
          <pc:docMk/>
          <pc:sldMk cId="1955021214" sldId="2147469720"/>
        </pc:sldMkLst>
        <pc:spChg chg="mod">
          <ac:chgData name="Vervloet, Toni" userId="f28533a5-53b3-4f10-93bf-dd331599556d" providerId="ADAL" clId="{867EDD7F-81F9-4771-A974-919973341291}" dt="2023-06-02T12:29:16.927" v="2255" actId="1038"/>
          <ac:spMkLst>
            <pc:docMk/>
            <pc:sldMk cId="1955021214" sldId="2147469720"/>
            <ac:spMk id="2" creationId="{0696D550-AA1E-19CB-F8FC-4550598E91F5}"/>
          </ac:spMkLst>
        </pc:spChg>
        <pc:spChg chg="mod">
          <ac:chgData name="Vervloet, Toni" userId="f28533a5-53b3-4f10-93bf-dd331599556d" providerId="ADAL" clId="{867EDD7F-81F9-4771-A974-919973341291}" dt="2023-06-21T13:10:41.499" v="7120" actId="1037"/>
          <ac:spMkLst>
            <pc:docMk/>
            <pc:sldMk cId="1955021214" sldId="2147469720"/>
            <ac:spMk id="3" creationId="{D7F7C231-56A6-D294-54B1-C61690C8C16C}"/>
          </ac:spMkLst>
        </pc:spChg>
        <pc:spChg chg="add del mod">
          <ac:chgData name="Vervloet, Toni" userId="f28533a5-53b3-4f10-93bf-dd331599556d" providerId="ADAL" clId="{867EDD7F-81F9-4771-A974-919973341291}" dt="2023-06-02T12:28:57.751" v="2250" actId="478"/>
          <ac:spMkLst>
            <pc:docMk/>
            <pc:sldMk cId="1955021214" sldId="2147469720"/>
            <ac:spMk id="6" creationId="{44B15F4C-5172-0ECE-F56A-8F714A7FC915}"/>
          </ac:spMkLst>
        </pc:spChg>
        <pc:spChg chg="add del mod">
          <ac:chgData name="Vervloet, Toni" userId="f28533a5-53b3-4f10-93bf-dd331599556d" providerId="ADAL" clId="{867EDD7F-81F9-4771-A974-919973341291}" dt="2023-06-02T12:29:12.558" v="2253" actId="478"/>
          <ac:spMkLst>
            <pc:docMk/>
            <pc:sldMk cId="1955021214" sldId="2147469720"/>
            <ac:spMk id="11" creationId="{0454F8C4-A86A-E9B6-5134-010885D584EC}"/>
          </ac:spMkLst>
        </pc:spChg>
        <pc:spChg chg="add mod">
          <ac:chgData name="Vervloet, Toni" userId="f28533a5-53b3-4f10-93bf-dd331599556d" providerId="ADAL" clId="{867EDD7F-81F9-4771-A974-919973341291}" dt="2023-06-02T12:28:48.875" v="2248" actId="26606"/>
          <ac:spMkLst>
            <pc:docMk/>
            <pc:sldMk cId="1955021214" sldId="2147469720"/>
            <ac:spMk id="13" creationId="{779DBDF5-123D-64B3-EE20-3FB55F2F722F}"/>
          </ac:spMkLst>
        </pc:spChg>
        <pc:picChg chg="add mod ord">
          <ac:chgData name="Vervloet, Toni" userId="f28533a5-53b3-4f10-93bf-dd331599556d" providerId="ADAL" clId="{867EDD7F-81F9-4771-A974-919973341291}" dt="2023-06-02T12:29:03.932" v="2252" actId="1076"/>
          <ac:picMkLst>
            <pc:docMk/>
            <pc:sldMk cId="1955021214" sldId="2147469720"/>
            <ac:picMk id="5" creationId="{56F352E2-E861-9476-85AB-6FF06BB69960}"/>
          </ac:picMkLst>
        </pc:picChg>
      </pc:sldChg>
      <pc:sldChg chg="modSp mod modAnim modNotesTx">
        <pc:chgData name="Vervloet, Toni" userId="f28533a5-53b3-4f10-93bf-dd331599556d" providerId="ADAL" clId="{867EDD7F-81F9-4771-A974-919973341291}" dt="2023-06-21T13:18:12.360" v="7160" actId="20577"/>
        <pc:sldMkLst>
          <pc:docMk/>
          <pc:sldMk cId="2878625570" sldId="2147469721"/>
        </pc:sldMkLst>
        <pc:spChg chg="mod">
          <ac:chgData name="Vervloet, Toni" userId="f28533a5-53b3-4f10-93bf-dd331599556d" providerId="ADAL" clId="{867EDD7F-81F9-4771-A974-919973341291}" dt="2023-06-02T12:51:50.418" v="2504" actId="1038"/>
          <ac:spMkLst>
            <pc:docMk/>
            <pc:sldMk cId="2878625570" sldId="2147469721"/>
            <ac:spMk id="2" creationId="{D613F1A6-CA5C-7F11-E14B-9E6DC99BBC16}"/>
          </ac:spMkLst>
        </pc:spChg>
        <pc:spChg chg="mod">
          <ac:chgData name="Vervloet, Toni" userId="f28533a5-53b3-4f10-93bf-dd331599556d" providerId="ADAL" clId="{867EDD7F-81F9-4771-A974-919973341291}" dt="2023-06-21T13:18:12.360" v="7160" actId="20577"/>
          <ac:spMkLst>
            <pc:docMk/>
            <pc:sldMk cId="2878625570" sldId="2147469721"/>
            <ac:spMk id="3" creationId="{0EA61B43-77F0-1787-47CC-3566AF2DA56C}"/>
          </ac:spMkLst>
        </pc:spChg>
      </pc:sldChg>
      <pc:sldChg chg="addSp modSp mod ord setBg modAnim">
        <pc:chgData name="Vervloet, Toni" userId="f28533a5-53b3-4f10-93bf-dd331599556d" providerId="ADAL" clId="{867EDD7F-81F9-4771-A974-919973341291}" dt="2023-06-02T13:10:00.155" v="2604"/>
        <pc:sldMkLst>
          <pc:docMk/>
          <pc:sldMk cId="3486044391" sldId="2147469731"/>
        </pc:sldMkLst>
        <pc:spChg chg="mod">
          <ac:chgData name="Vervloet, Toni" userId="f28533a5-53b3-4f10-93bf-dd331599556d" providerId="ADAL" clId="{867EDD7F-81F9-4771-A974-919973341291}" dt="2023-06-02T11:27:05.459" v="974" actId="1037"/>
          <ac:spMkLst>
            <pc:docMk/>
            <pc:sldMk cId="3486044391" sldId="2147469731"/>
            <ac:spMk id="3" creationId="{F3A6EB3F-90EB-D701-8B69-627704380B77}"/>
          </ac:spMkLst>
        </pc:spChg>
        <pc:spChg chg="add mod">
          <ac:chgData name="Vervloet, Toni" userId="f28533a5-53b3-4f10-93bf-dd331599556d" providerId="ADAL" clId="{867EDD7F-81F9-4771-A974-919973341291}" dt="2023-06-02T13:09:36.914" v="2603" actId="14100"/>
          <ac:spMkLst>
            <pc:docMk/>
            <pc:sldMk cId="3486044391" sldId="2147469731"/>
            <ac:spMk id="4" creationId="{BB3827F7-20DC-7627-2CA8-EA3477EC677A}"/>
          </ac:spMkLst>
        </pc:spChg>
        <pc:picChg chg="mod">
          <ac:chgData name="Vervloet, Toni" userId="f28533a5-53b3-4f10-93bf-dd331599556d" providerId="ADAL" clId="{867EDD7F-81F9-4771-A974-919973341291}" dt="2023-06-02T13:07:18.620" v="2579" actId="1076"/>
          <ac:picMkLst>
            <pc:docMk/>
            <pc:sldMk cId="3486044391" sldId="2147469731"/>
            <ac:picMk id="2" creationId="{B95666DF-E198-36F3-7F80-2826C165852A}"/>
          </ac:picMkLst>
        </pc:picChg>
      </pc:sldChg>
      <pc:sldChg chg="delSp mod">
        <pc:chgData name="Vervloet, Toni" userId="f28533a5-53b3-4f10-93bf-dd331599556d" providerId="ADAL" clId="{867EDD7F-81F9-4771-A974-919973341291}" dt="2023-06-21T13:22:22.175" v="7166" actId="478"/>
        <pc:sldMkLst>
          <pc:docMk/>
          <pc:sldMk cId="2275085843" sldId="2147469732"/>
        </pc:sldMkLst>
        <pc:spChg chg="del">
          <ac:chgData name="Vervloet, Toni" userId="f28533a5-53b3-4f10-93bf-dd331599556d" providerId="ADAL" clId="{867EDD7F-81F9-4771-A974-919973341291}" dt="2023-06-21T13:22:22.175" v="7166" actId="478"/>
          <ac:spMkLst>
            <pc:docMk/>
            <pc:sldMk cId="2275085843" sldId="2147469732"/>
            <ac:spMk id="3" creationId="{37A21E33-4BA8-D6F5-8D8A-BE3A6FB97B68}"/>
          </ac:spMkLst>
        </pc:spChg>
      </pc:sldChg>
      <pc:sldChg chg="delSp mod">
        <pc:chgData name="Vervloet, Toni" userId="f28533a5-53b3-4f10-93bf-dd331599556d" providerId="ADAL" clId="{867EDD7F-81F9-4771-A974-919973341291}" dt="2023-06-21T13:22:18.323" v="7165" actId="478"/>
        <pc:sldMkLst>
          <pc:docMk/>
          <pc:sldMk cId="1494120324" sldId="2147470190"/>
        </pc:sldMkLst>
        <pc:spChg chg="del">
          <ac:chgData name="Vervloet, Toni" userId="f28533a5-53b3-4f10-93bf-dd331599556d" providerId="ADAL" clId="{867EDD7F-81F9-4771-A974-919973341291}" dt="2023-06-21T13:22:18.323" v="7165" actId="478"/>
          <ac:spMkLst>
            <pc:docMk/>
            <pc:sldMk cId="1494120324" sldId="2147470190"/>
            <ac:spMk id="2" creationId="{C34B6895-47B7-48CC-A2B8-D1EE9D5555F7}"/>
          </ac:spMkLst>
        </pc:spChg>
      </pc:sldChg>
      <pc:sldChg chg="addSp delSp modSp del mod setBg modClrScheme chgLayout modNotesTx">
        <pc:chgData name="Vervloet, Toni" userId="f28533a5-53b3-4f10-93bf-dd331599556d" providerId="ADAL" clId="{867EDD7F-81F9-4771-A974-919973341291}" dt="2023-06-14T14:27:07.020" v="5930" actId="47"/>
        <pc:sldMkLst>
          <pc:docMk/>
          <pc:sldMk cId="2880696089" sldId="2147470192"/>
        </pc:sldMkLst>
        <pc:spChg chg="add del mod ord">
          <ac:chgData name="Vervloet, Toni" userId="f28533a5-53b3-4f10-93bf-dd331599556d" providerId="ADAL" clId="{867EDD7F-81F9-4771-A974-919973341291}" dt="2023-06-14T14:18:12.068" v="5883" actId="478"/>
          <ac:spMkLst>
            <pc:docMk/>
            <pc:sldMk cId="2880696089" sldId="2147470192"/>
            <ac:spMk id="2" creationId="{A90F7C64-F2D4-1EFE-50CC-710112E4E1D0}"/>
          </ac:spMkLst>
        </pc:spChg>
        <pc:spChg chg="add del">
          <ac:chgData name="Vervloet, Toni" userId="f28533a5-53b3-4f10-93bf-dd331599556d" providerId="ADAL" clId="{867EDD7F-81F9-4771-A974-919973341291}" dt="2023-06-05T09:22:18.741" v="3962" actId="931"/>
          <ac:spMkLst>
            <pc:docMk/>
            <pc:sldMk cId="2880696089" sldId="2147470192"/>
            <ac:spMk id="2" creationId="{D9D5FC9E-6622-E720-B688-DFF71AF1A197}"/>
          </ac:spMkLst>
        </pc:spChg>
        <pc:spChg chg="mod ord">
          <ac:chgData name="Vervloet, Toni" userId="f28533a5-53b3-4f10-93bf-dd331599556d" providerId="ADAL" clId="{867EDD7F-81F9-4771-A974-919973341291}" dt="2023-06-14T14:24:31.730" v="5918" actId="1076"/>
          <ac:spMkLst>
            <pc:docMk/>
            <pc:sldMk cId="2880696089" sldId="2147470192"/>
            <ac:spMk id="3" creationId="{DED6D111-87BE-2113-CC3B-46BB4A442314}"/>
          </ac:spMkLst>
        </pc:spChg>
        <pc:spChg chg="add del mod ord">
          <ac:chgData name="Vervloet, Toni" userId="f28533a5-53b3-4f10-93bf-dd331599556d" providerId="ADAL" clId="{867EDD7F-81F9-4771-A974-919973341291}" dt="2023-06-14T14:18:14.943" v="5884" actId="478"/>
          <ac:spMkLst>
            <pc:docMk/>
            <pc:sldMk cId="2880696089" sldId="2147470192"/>
            <ac:spMk id="4" creationId="{AA546044-4153-0E12-BC42-5396CBB9AE61}"/>
          </ac:spMkLst>
        </pc:spChg>
        <pc:spChg chg="del">
          <ac:chgData name="Vervloet, Toni" userId="f28533a5-53b3-4f10-93bf-dd331599556d" providerId="ADAL" clId="{867EDD7F-81F9-4771-A974-919973341291}" dt="2023-06-05T09:34:26.219" v="4024" actId="478"/>
          <ac:spMkLst>
            <pc:docMk/>
            <pc:sldMk cId="2880696089" sldId="2147470192"/>
            <ac:spMk id="4" creationId="{F9C5A60B-CA13-E09A-462E-EEFDD99B4AEC}"/>
          </ac:spMkLst>
        </pc:spChg>
        <pc:spChg chg="add mod ord">
          <ac:chgData name="Vervloet, Toni" userId="f28533a5-53b3-4f10-93bf-dd331599556d" providerId="ADAL" clId="{867EDD7F-81F9-4771-A974-919973341291}" dt="2023-06-14T14:24:35.468" v="5919" actId="1076"/>
          <ac:spMkLst>
            <pc:docMk/>
            <pc:sldMk cId="2880696089" sldId="2147470192"/>
            <ac:spMk id="5" creationId="{C409A5C5-071F-142E-7D75-BCC1672F721A}"/>
          </ac:spMkLst>
        </pc:spChg>
        <pc:spChg chg="del">
          <ac:chgData name="Vervloet, Toni" userId="f28533a5-53b3-4f10-93bf-dd331599556d" providerId="ADAL" clId="{867EDD7F-81F9-4771-A974-919973341291}" dt="2023-06-05T09:34:28.201" v="4025" actId="478"/>
          <ac:spMkLst>
            <pc:docMk/>
            <pc:sldMk cId="2880696089" sldId="2147470192"/>
            <ac:spMk id="5" creationId="{F4BD46E6-74BE-3A63-9CC2-A3CADC2493AE}"/>
          </ac:spMkLst>
        </pc:spChg>
        <pc:spChg chg="add del mod">
          <ac:chgData name="Vervloet, Toni" userId="f28533a5-53b3-4f10-93bf-dd331599556d" providerId="ADAL" clId="{867EDD7F-81F9-4771-A974-919973341291}" dt="2023-06-14T14:17:11.209" v="5866"/>
          <ac:spMkLst>
            <pc:docMk/>
            <pc:sldMk cId="2880696089" sldId="2147470192"/>
            <ac:spMk id="6" creationId="{B97048DB-11FD-C4D6-73F1-6274B1BB07A1}"/>
          </ac:spMkLst>
        </pc:spChg>
        <pc:picChg chg="add del">
          <ac:chgData name="Vervloet, Toni" userId="f28533a5-53b3-4f10-93bf-dd331599556d" providerId="ADAL" clId="{867EDD7F-81F9-4771-A974-919973341291}" dt="2023-06-14T14:24:07.197" v="5915" actId="478"/>
          <ac:picMkLst>
            <pc:docMk/>
            <pc:sldMk cId="2880696089" sldId="2147470192"/>
            <ac:picMk id="7" creationId="{CB4CF300-084C-AED9-7E3D-D54BF4B28543}"/>
          </ac:picMkLst>
        </pc:picChg>
        <pc:picChg chg="add del mod">
          <ac:chgData name="Vervloet, Toni" userId="f28533a5-53b3-4f10-93bf-dd331599556d" providerId="ADAL" clId="{867EDD7F-81F9-4771-A974-919973341291}" dt="2023-06-05T09:22:12.554" v="3961" actId="931"/>
          <ac:picMkLst>
            <pc:docMk/>
            <pc:sldMk cId="2880696089" sldId="2147470192"/>
            <ac:picMk id="7" creationId="{DDB25B05-D59E-A955-41AB-A636058FCD92}"/>
          </ac:picMkLst>
        </pc:picChg>
        <pc:picChg chg="add mod ord modCrop">
          <ac:chgData name="Vervloet, Toni" userId="f28533a5-53b3-4f10-93bf-dd331599556d" providerId="ADAL" clId="{867EDD7F-81F9-4771-A974-919973341291}" dt="2023-06-14T14:26:57.730" v="5929" actId="1076"/>
          <ac:picMkLst>
            <pc:docMk/>
            <pc:sldMk cId="2880696089" sldId="2147470192"/>
            <ac:picMk id="9" creationId="{3D7D7C1F-28AB-6C68-06F6-2992F0A4A730}"/>
          </ac:picMkLst>
        </pc:picChg>
        <pc:picChg chg="add del mod">
          <ac:chgData name="Vervloet, Toni" userId="f28533a5-53b3-4f10-93bf-dd331599556d" providerId="ADAL" clId="{867EDD7F-81F9-4771-A974-919973341291}" dt="2023-06-05T09:32:21.495" v="4012" actId="478"/>
          <ac:picMkLst>
            <pc:docMk/>
            <pc:sldMk cId="2880696089" sldId="2147470192"/>
            <ac:picMk id="10" creationId="{020925B1-F535-4DF5-31BE-895C02959FA9}"/>
          </ac:picMkLst>
        </pc:picChg>
        <pc:picChg chg="add del mod">
          <ac:chgData name="Vervloet, Toni" userId="f28533a5-53b3-4f10-93bf-dd331599556d" providerId="ADAL" clId="{867EDD7F-81F9-4771-A974-919973341291}" dt="2023-06-05T09:28:54.779" v="4009" actId="478"/>
          <ac:picMkLst>
            <pc:docMk/>
            <pc:sldMk cId="2880696089" sldId="2147470192"/>
            <ac:picMk id="11" creationId="{0AB1FDD3-B3DB-2D2B-9A11-DD5C5AFBE45B}"/>
          </ac:picMkLst>
        </pc:picChg>
        <pc:picChg chg="add del mod">
          <ac:chgData name="Vervloet, Toni" userId="f28533a5-53b3-4f10-93bf-dd331599556d" providerId="ADAL" clId="{867EDD7F-81F9-4771-A974-919973341291}" dt="2023-06-14T14:26:38.470" v="5928" actId="1362"/>
          <ac:picMkLst>
            <pc:docMk/>
            <pc:sldMk cId="2880696089" sldId="2147470192"/>
            <ac:picMk id="43010" creationId="{2389B263-00B3-B8EC-BA71-C3FBB42BCA9E}"/>
          </ac:picMkLst>
        </pc:picChg>
      </pc:sldChg>
      <pc:sldChg chg="del mod ord modShow">
        <pc:chgData name="Vervloet, Toni" userId="f28533a5-53b3-4f10-93bf-dd331599556d" providerId="ADAL" clId="{867EDD7F-81F9-4771-A974-919973341291}" dt="2023-06-05T09:21:40.259" v="3952" actId="47"/>
        <pc:sldMkLst>
          <pc:docMk/>
          <pc:sldMk cId="3969426715" sldId="2147470194"/>
        </pc:sldMkLst>
      </pc:sldChg>
      <pc:sldChg chg="modSp del mod">
        <pc:chgData name="Vervloet, Toni" userId="f28533a5-53b3-4f10-93bf-dd331599556d" providerId="ADAL" clId="{867EDD7F-81F9-4771-A974-919973341291}" dt="2023-06-02T12:55:50.954" v="2525" actId="47"/>
        <pc:sldMkLst>
          <pc:docMk/>
          <pc:sldMk cId="3532311046" sldId="2147470195"/>
        </pc:sldMkLst>
        <pc:spChg chg="mod">
          <ac:chgData name="Vervloet, Toni" userId="f28533a5-53b3-4f10-93bf-dd331599556d" providerId="ADAL" clId="{867EDD7F-81F9-4771-A974-919973341291}" dt="2023-06-02T12:55:41.009" v="2524" actId="20577"/>
          <ac:spMkLst>
            <pc:docMk/>
            <pc:sldMk cId="3532311046" sldId="2147470195"/>
            <ac:spMk id="4" creationId="{4AEB17F6-E3FA-13AD-D271-E177D1C0CDC4}"/>
          </ac:spMkLst>
        </pc:spChg>
      </pc:sldChg>
      <pc:sldChg chg="delSp modSp add mod modAnim modNotesTx">
        <pc:chgData name="Vervloet, Toni" userId="f28533a5-53b3-4f10-93bf-dd331599556d" providerId="ADAL" clId="{867EDD7F-81F9-4771-A974-919973341291}" dt="2023-06-21T13:08:40.826" v="7115"/>
        <pc:sldMkLst>
          <pc:docMk/>
          <pc:sldMk cId="4114597471" sldId="2147470196"/>
        </pc:sldMkLst>
        <pc:spChg chg="mod">
          <ac:chgData name="Vervloet, Toni" userId="f28533a5-53b3-4f10-93bf-dd331599556d" providerId="ADAL" clId="{867EDD7F-81F9-4771-A974-919973341291}" dt="2023-06-14T14:10:26.424" v="5794" actId="1036"/>
          <ac:spMkLst>
            <pc:docMk/>
            <pc:sldMk cId="4114597471" sldId="2147470196"/>
            <ac:spMk id="3" creationId="{B0BDE5F6-4FBF-94C5-219D-BDBBCF051956}"/>
          </ac:spMkLst>
        </pc:spChg>
        <pc:spChg chg="mod">
          <ac:chgData name="Vervloet, Toni" userId="f28533a5-53b3-4f10-93bf-dd331599556d" providerId="ADAL" clId="{867EDD7F-81F9-4771-A974-919973341291}" dt="2023-06-02T12:16:00.929" v="1984" actId="1037"/>
          <ac:spMkLst>
            <pc:docMk/>
            <pc:sldMk cId="4114597471" sldId="2147470196"/>
            <ac:spMk id="4" creationId="{E974EAF7-5167-B2D4-E0D3-3BE28586940B}"/>
          </ac:spMkLst>
        </pc:spChg>
        <pc:picChg chg="del">
          <ac:chgData name="Vervloet, Toni" userId="f28533a5-53b3-4f10-93bf-dd331599556d" providerId="ADAL" clId="{867EDD7F-81F9-4771-A974-919973341291}" dt="2023-06-02T12:58:36.465" v="2535" actId="478"/>
          <ac:picMkLst>
            <pc:docMk/>
            <pc:sldMk cId="4114597471" sldId="2147470196"/>
            <ac:picMk id="5" creationId="{30243FF1-2C1C-6E60-C47D-7DDA00CE36B0}"/>
          </ac:picMkLst>
        </pc:picChg>
      </pc:sldChg>
      <pc:sldChg chg="addSp delSp modSp new del mod modClrScheme chgLayout">
        <pc:chgData name="Vervloet, Toni" userId="f28533a5-53b3-4f10-93bf-dd331599556d" providerId="ADAL" clId="{867EDD7F-81F9-4771-A974-919973341291}" dt="2023-06-14T14:37:32.121" v="6117" actId="47"/>
        <pc:sldMkLst>
          <pc:docMk/>
          <pc:sldMk cId="1101881423" sldId="2147470197"/>
        </pc:sldMkLst>
        <pc:spChg chg="add mod">
          <ac:chgData name="Vervloet, Toni" userId="f28533a5-53b3-4f10-93bf-dd331599556d" providerId="ADAL" clId="{867EDD7F-81F9-4771-A974-919973341291}" dt="2023-06-14T14:37:18.518" v="6116" actId="20577"/>
          <ac:spMkLst>
            <pc:docMk/>
            <pc:sldMk cId="1101881423" sldId="2147470197"/>
            <ac:spMk id="2" creationId="{BD48BF5E-11D7-1EAD-DAEE-600191D0FEC5}"/>
          </ac:spMkLst>
        </pc:spChg>
        <pc:spChg chg="del">
          <ac:chgData name="Vervloet, Toni" userId="f28533a5-53b3-4f10-93bf-dd331599556d" providerId="ADAL" clId="{867EDD7F-81F9-4771-A974-919973341291}" dt="2023-06-02T12:31:07.636" v="2286" actId="700"/>
          <ac:spMkLst>
            <pc:docMk/>
            <pc:sldMk cId="1101881423" sldId="2147470197"/>
            <ac:spMk id="2" creationId="{CAE4D55D-4284-0160-80FF-2733F07FE38A}"/>
          </ac:spMkLst>
        </pc:spChg>
        <pc:spChg chg="mod ord">
          <ac:chgData name="Vervloet, Toni" userId="f28533a5-53b3-4f10-93bf-dd331599556d" providerId="ADAL" clId="{867EDD7F-81F9-4771-A974-919973341291}" dt="2023-06-02T12:31:07.636" v="2286" actId="700"/>
          <ac:spMkLst>
            <pc:docMk/>
            <pc:sldMk cId="1101881423" sldId="2147470197"/>
            <ac:spMk id="3" creationId="{483AE7AF-B20A-8E30-F3FC-7FEB78008B15}"/>
          </ac:spMkLst>
        </pc:spChg>
        <pc:spChg chg="del mod ord">
          <ac:chgData name="Vervloet, Toni" userId="f28533a5-53b3-4f10-93bf-dd331599556d" providerId="ADAL" clId="{867EDD7F-81F9-4771-A974-919973341291}" dt="2023-06-02T12:31:07.636" v="2286" actId="700"/>
          <ac:spMkLst>
            <pc:docMk/>
            <pc:sldMk cId="1101881423" sldId="2147470197"/>
            <ac:spMk id="4" creationId="{14C7A9F4-740C-984D-23EC-13F5D8F592FE}"/>
          </ac:spMkLst>
        </pc:spChg>
        <pc:spChg chg="add del mod">
          <ac:chgData name="Vervloet, Toni" userId="f28533a5-53b3-4f10-93bf-dd331599556d" providerId="ADAL" clId="{867EDD7F-81F9-4771-A974-919973341291}" dt="2023-06-14T14:37:08.789" v="6090" actId="478"/>
          <ac:spMkLst>
            <pc:docMk/>
            <pc:sldMk cId="1101881423" sldId="2147470197"/>
            <ac:spMk id="5" creationId="{1FEB301C-8551-1003-F690-52769BEFAED9}"/>
          </ac:spMkLst>
        </pc:spChg>
        <pc:spChg chg="del">
          <ac:chgData name="Vervloet, Toni" userId="f28533a5-53b3-4f10-93bf-dd331599556d" providerId="ADAL" clId="{867EDD7F-81F9-4771-A974-919973341291}" dt="2023-06-02T12:31:07.636" v="2286" actId="700"/>
          <ac:spMkLst>
            <pc:docMk/>
            <pc:sldMk cId="1101881423" sldId="2147470197"/>
            <ac:spMk id="5" creationId="{5B497B0D-DE2D-4F42-EFAF-877EE9534DC0}"/>
          </ac:spMkLst>
        </pc:spChg>
        <pc:spChg chg="del">
          <ac:chgData name="Vervloet, Toni" userId="f28533a5-53b3-4f10-93bf-dd331599556d" providerId="ADAL" clId="{867EDD7F-81F9-4771-A974-919973341291}" dt="2023-06-02T12:31:07.636" v="2286" actId="700"/>
          <ac:spMkLst>
            <pc:docMk/>
            <pc:sldMk cId="1101881423" sldId="2147470197"/>
            <ac:spMk id="6" creationId="{1BA52A56-EEE1-BF12-C082-BE04E8026CB1}"/>
          </ac:spMkLst>
        </pc:spChg>
        <pc:spChg chg="add del mod ord">
          <ac:chgData name="Vervloet, Toni" userId="f28533a5-53b3-4f10-93bf-dd331599556d" providerId="ADAL" clId="{867EDD7F-81F9-4771-A974-919973341291}" dt="2023-06-14T14:37:05.267" v="6089" actId="478"/>
          <ac:spMkLst>
            <pc:docMk/>
            <pc:sldMk cId="1101881423" sldId="2147470197"/>
            <ac:spMk id="7" creationId="{C6A6D1EA-41BC-1B34-FB44-FA3621271DC0}"/>
          </ac:spMkLst>
        </pc:spChg>
      </pc:sldChg>
      <pc:sldChg chg="del">
        <pc:chgData name="Vervloet, Toni" userId="f28533a5-53b3-4f10-93bf-dd331599556d" providerId="ADAL" clId="{867EDD7F-81F9-4771-A974-919973341291}" dt="2023-06-14T14:38:05.744" v="6155" actId="47"/>
        <pc:sldMkLst>
          <pc:docMk/>
          <pc:sldMk cId="2862445441" sldId="2147470198"/>
        </pc:sldMkLst>
      </pc:sldChg>
      <pc:sldChg chg="addSp delSp modSp add mod ord setBg modAnim">
        <pc:chgData name="Vervloet, Toni" userId="f28533a5-53b3-4f10-93bf-dd331599556d" providerId="ADAL" clId="{867EDD7F-81F9-4771-A974-919973341291}" dt="2023-06-02T13:11:00.566" v="2677" actId="1037"/>
        <pc:sldMkLst>
          <pc:docMk/>
          <pc:sldMk cId="2130502699" sldId="2147470199"/>
        </pc:sldMkLst>
        <pc:spChg chg="add mod">
          <ac:chgData name="Vervloet, Toni" userId="f28533a5-53b3-4f10-93bf-dd331599556d" providerId="ADAL" clId="{867EDD7F-81F9-4771-A974-919973341291}" dt="2023-06-02T13:11:00.566" v="2677" actId="1037"/>
          <ac:spMkLst>
            <pc:docMk/>
            <pc:sldMk cId="2130502699" sldId="2147470199"/>
            <ac:spMk id="4" creationId="{3303C38C-1AA8-5017-F9D9-B7C631D23BC5}"/>
          </ac:spMkLst>
        </pc:spChg>
        <pc:picChg chg="del mod">
          <ac:chgData name="Vervloet, Toni" userId="f28533a5-53b3-4f10-93bf-dd331599556d" providerId="ADAL" clId="{867EDD7F-81F9-4771-A974-919973341291}" dt="2023-06-02T13:10:37.735" v="2621" actId="478"/>
          <ac:picMkLst>
            <pc:docMk/>
            <pc:sldMk cId="2130502699" sldId="2147470199"/>
            <ac:picMk id="2" creationId="{B95666DF-E198-36F3-7F80-2826C165852A}"/>
          </ac:picMkLst>
        </pc:picChg>
        <pc:picChg chg="add mod ord">
          <ac:chgData name="Vervloet, Toni" userId="f28533a5-53b3-4f10-93bf-dd331599556d" providerId="ADAL" clId="{867EDD7F-81F9-4771-A974-919973341291}" dt="2023-06-02T13:10:49.751" v="2627" actId="171"/>
          <ac:picMkLst>
            <pc:docMk/>
            <pc:sldMk cId="2130502699" sldId="2147470199"/>
            <ac:picMk id="5" creationId="{41FBCC63-BBC7-6E10-161D-40666B1296BC}"/>
          </ac:picMkLst>
        </pc:picChg>
      </pc:sldChg>
      <pc:sldChg chg="addSp delSp modSp add del mod modTransition delAnim modAnim modNotes modNotesTx">
        <pc:chgData name="Vervloet, Toni" userId="f28533a5-53b3-4f10-93bf-dd331599556d" providerId="ADAL" clId="{867EDD7F-81F9-4771-A974-919973341291}" dt="2023-06-20T15:09:26.068" v="6811" actId="47"/>
        <pc:sldMkLst>
          <pc:docMk/>
          <pc:sldMk cId="486100302" sldId="2147470200"/>
        </pc:sldMkLst>
        <pc:picChg chg="add del mod">
          <ac:chgData name="Vervloet, Toni" userId="f28533a5-53b3-4f10-93bf-dd331599556d" providerId="ADAL" clId="{867EDD7F-81F9-4771-A974-919973341291}" dt="2023-06-20T14:55:47.133" v="6722" actId="478"/>
          <ac:picMkLst>
            <pc:docMk/>
            <pc:sldMk cId="486100302" sldId="2147470200"/>
            <ac:picMk id="5" creationId="{E6817A0E-F2C3-6A41-B90A-F9D24222CF2E}"/>
          </ac:picMkLst>
        </pc:picChg>
        <pc:picChg chg="add del mod">
          <ac:chgData name="Vervloet, Toni" userId="f28533a5-53b3-4f10-93bf-dd331599556d" providerId="ADAL" clId="{867EDD7F-81F9-4771-A974-919973341291}" dt="2023-06-20T14:53:38.009" v="6687" actId="478"/>
          <ac:picMkLst>
            <pc:docMk/>
            <pc:sldMk cId="486100302" sldId="2147470200"/>
            <ac:picMk id="11" creationId="{9ABF4029-0D8B-ACB7-5C3A-CCC004A63DD5}"/>
          </ac:picMkLst>
        </pc:picChg>
      </pc:sldChg>
      <pc:sldChg chg="addSp modSp mod">
        <pc:chgData name="Vervloet, Toni" userId="f28533a5-53b3-4f10-93bf-dd331599556d" providerId="ADAL" clId="{867EDD7F-81F9-4771-A974-919973341291}" dt="2023-06-21T13:04:03.255" v="7112" actId="552"/>
        <pc:sldMkLst>
          <pc:docMk/>
          <pc:sldMk cId="1700925479" sldId="2147470201"/>
        </pc:sldMkLst>
        <pc:spChg chg="add mod">
          <ac:chgData name="Vervloet, Toni" userId="f28533a5-53b3-4f10-93bf-dd331599556d" providerId="ADAL" clId="{867EDD7F-81F9-4771-A974-919973341291}" dt="2023-06-14T14:08:56.890" v="5790"/>
          <ac:spMkLst>
            <pc:docMk/>
            <pc:sldMk cId="1700925479" sldId="2147470201"/>
            <ac:spMk id="5" creationId="{3B3C0108-5A05-EB98-4813-7EB5D359EC91}"/>
          </ac:spMkLst>
        </pc:spChg>
        <pc:spChg chg="add mod">
          <ac:chgData name="Vervloet, Toni" userId="f28533a5-53b3-4f10-93bf-dd331599556d" providerId="ADAL" clId="{867EDD7F-81F9-4771-A974-919973341291}" dt="2023-06-14T14:08:56.890" v="5790"/>
          <ac:spMkLst>
            <pc:docMk/>
            <pc:sldMk cId="1700925479" sldId="2147470201"/>
            <ac:spMk id="6" creationId="{AFD0FE81-0205-C5BF-0CF6-80A376CCA757}"/>
          </ac:spMkLst>
        </pc:spChg>
        <pc:spChg chg="add mod">
          <ac:chgData name="Vervloet, Toni" userId="f28533a5-53b3-4f10-93bf-dd331599556d" providerId="ADAL" clId="{867EDD7F-81F9-4771-A974-919973341291}" dt="2023-06-14T14:08:56.890" v="5790"/>
          <ac:spMkLst>
            <pc:docMk/>
            <pc:sldMk cId="1700925479" sldId="2147470201"/>
            <ac:spMk id="7" creationId="{9F21ECC8-92EC-8844-15C1-2E71C0F660E6}"/>
          </ac:spMkLst>
        </pc:spChg>
        <pc:spChg chg="add mod">
          <ac:chgData name="Vervloet, Toni" userId="f28533a5-53b3-4f10-93bf-dd331599556d" providerId="ADAL" clId="{867EDD7F-81F9-4771-A974-919973341291}" dt="2023-06-14T14:08:56.890" v="5790"/>
          <ac:spMkLst>
            <pc:docMk/>
            <pc:sldMk cId="1700925479" sldId="2147470201"/>
            <ac:spMk id="11" creationId="{3C487AA9-C339-9B72-5A4C-C946398A8ABB}"/>
          </ac:spMkLst>
        </pc:spChg>
        <pc:spChg chg="add mod">
          <ac:chgData name="Vervloet, Toni" userId="f28533a5-53b3-4f10-93bf-dd331599556d" providerId="ADAL" clId="{867EDD7F-81F9-4771-A974-919973341291}" dt="2023-06-14T14:08:56.890" v="5790"/>
          <ac:spMkLst>
            <pc:docMk/>
            <pc:sldMk cId="1700925479" sldId="2147470201"/>
            <ac:spMk id="12" creationId="{AA5A0CE0-097F-D8E4-D83C-B6919919E2D0}"/>
          </ac:spMkLst>
        </pc:spChg>
        <pc:cxnChg chg="add mod">
          <ac:chgData name="Vervloet, Toni" userId="f28533a5-53b3-4f10-93bf-dd331599556d" providerId="ADAL" clId="{867EDD7F-81F9-4771-A974-919973341291}" dt="2023-06-21T13:04:03.255" v="7112" actId="552"/>
          <ac:cxnSpMkLst>
            <pc:docMk/>
            <pc:sldMk cId="1700925479" sldId="2147470201"/>
            <ac:cxnSpMk id="8" creationId="{C84B8794-4A97-288A-8693-16DD0DD7DA46}"/>
          </ac:cxnSpMkLst>
        </pc:cxnChg>
        <pc:cxnChg chg="add mod">
          <ac:chgData name="Vervloet, Toni" userId="f28533a5-53b3-4f10-93bf-dd331599556d" providerId="ADAL" clId="{867EDD7F-81F9-4771-A974-919973341291}" dt="2023-06-21T13:04:03.255" v="7112" actId="552"/>
          <ac:cxnSpMkLst>
            <pc:docMk/>
            <pc:sldMk cId="1700925479" sldId="2147470201"/>
            <ac:cxnSpMk id="9" creationId="{0D7491CE-AC6A-12DB-A464-9531A4D66811}"/>
          </ac:cxnSpMkLst>
        </pc:cxnChg>
        <pc:cxnChg chg="add mod">
          <ac:chgData name="Vervloet, Toni" userId="f28533a5-53b3-4f10-93bf-dd331599556d" providerId="ADAL" clId="{867EDD7F-81F9-4771-A974-919973341291}" dt="2023-06-21T13:04:03.255" v="7112" actId="552"/>
          <ac:cxnSpMkLst>
            <pc:docMk/>
            <pc:sldMk cId="1700925479" sldId="2147470201"/>
            <ac:cxnSpMk id="10" creationId="{DB5C09D9-866A-1D12-7BB6-CB234393002F}"/>
          </ac:cxnSpMkLst>
        </pc:cxnChg>
      </pc:sldChg>
      <pc:sldChg chg="addSp delSp modSp mod modTransition modNotesTx">
        <pc:chgData name="Vervloet, Toni" userId="f28533a5-53b3-4f10-93bf-dd331599556d" providerId="ADAL" clId="{867EDD7F-81F9-4771-A974-919973341291}" dt="2023-06-20T15:46:32.549" v="6848" actId="14100"/>
        <pc:sldMkLst>
          <pc:docMk/>
          <pc:sldMk cId="1473440622" sldId="2147470202"/>
        </pc:sldMkLst>
        <pc:spChg chg="add mod">
          <ac:chgData name="Vervloet, Toni" userId="f28533a5-53b3-4f10-93bf-dd331599556d" providerId="ADAL" clId="{867EDD7F-81F9-4771-A974-919973341291}" dt="2023-06-18T11:19:44.802" v="6496" actId="1035"/>
          <ac:spMkLst>
            <pc:docMk/>
            <pc:sldMk cId="1473440622" sldId="2147470202"/>
            <ac:spMk id="2" creationId="{8077BB6F-5ACB-06F6-5CE0-6D52E7BE75A8}"/>
          </ac:spMkLst>
        </pc:spChg>
        <pc:spChg chg="del mod">
          <ac:chgData name="Vervloet, Toni" userId="f28533a5-53b3-4f10-93bf-dd331599556d" providerId="ADAL" clId="{867EDD7F-81F9-4771-A974-919973341291}" dt="2023-06-14T14:28:39.837" v="5935" actId="478"/>
          <ac:spMkLst>
            <pc:docMk/>
            <pc:sldMk cId="1473440622" sldId="2147470202"/>
            <ac:spMk id="3" creationId="{DED6D111-87BE-2113-CC3B-46BB4A442314}"/>
          </ac:spMkLst>
        </pc:spChg>
        <pc:spChg chg="mod">
          <ac:chgData name="Vervloet, Toni" userId="f28533a5-53b3-4f10-93bf-dd331599556d" providerId="ADAL" clId="{867EDD7F-81F9-4771-A974-919973341291}" dt="2023-06-18T11:19:44.802" v="6496" actId="1035"/>
          <ac:spMkLst>
            <pc:docMk/>
            <pc:sldMk cId="1473440622" sldId="2147470202"/>
            <ac:spMk id="5" creationId="{C409A5C5-071F-142E-7D75-BCC1672F721A}"/>
          </ac:spMkLst>
        </pc:spChg>
        <pc:spChg chg="add del mod ord">
          <ac:chgData name="Vervloet, Toni" userId="f28533a5-53b3-4f10-93bf-dd331599556d" providerId="ADAL" clId="{867EDD7F-81F9-4771-A974-919973341291}" dt="2023-06-14T14:29:23.755" v="5943" actId="478"/>
          <ac:spMkLst>
            <pc:docMk/>
            <pc:sldMk cId="1473440622" sldId="2147470202"/>
            <ac:spMk id="7" creationId="{61EF2AE2-57F8-CF13-ACA0-1984D1CB0FE5}"/>
          </ac:spMkLst>
        </pc:spChg>
        <pc:grpChg chg="add del mod">
          <ac:chgData name="Vervloet, Toni" userId="f28533a5-53b3-4f10-93bf-dd331599556d" providerId="ADAL" clId="{867EDD7F-81F9-4771-A974-919973341291}" dt="2023-06-14T14:28:51.854" v="5938" actId="478"/>
          <ac:grpSpMkLst>
            <pc:docMk/>
            <pc:sldMk cId="1473440622" sldId="2147470202"/>
            <ac:grpSpMk id="8" creationId="{4CAF1C8D-9FD4-E2DB-F488-DF1E56273C79}"/>
          </ac:grpSpMkLst>
        </pc:grpChg>
        <pc:picChg chg="mod">
          <ac:chgData name="Vervloet, Toni" userId="f28533a5-53b3-4f10-93bf-dd331599556d" providerId="ADAL" clId="{867EDD7F-81F9-4771-A974-919973341291}" dt="2023-06-20T15:46:32.549" v="6848" actId="14100"/>
          <ac:picMkLst>
            <pc:docMk/>
            <pc:sldMk cId="1473440622" sldId="2147470202"/>
            <ac:picMk id="6" creationId="{875568CF-7641-2325-9FCE-701567983BDD}"/>
          </ac:picMkLst>
        </pc:picChg>
        <pc:picChg chg="mod ord modCrop">
          <ac:chgData name="Vervloet, Toni" userId="f28533a5-53b3-4f10-93bf-dd331599556d" providerId="ADAL" clId="{867EDD7F-81F9-4771-A974-919973341291}" dt="2023-06-18T11:18:36.123" v="6434" actId="14100"/>
          <ac:picMkLst>
            <pc:docMk/>
            <pc:sldMk cId="1473440622" sldId="2147470202"/>
            <ac:picMk id="9" creationId="{3D7D7C1F-28AB-6C68-06F6-2992F0A4A730}"/>
          </ac:picMkLst>
        </pc:picChg>
        <pc:picChg chg="mod">
          <ac:chgData name="Vervloet, Toni" userId="f28533a5-53b3-4f10-93bf-dd331599556d" providerId="ADAL" clId="{867EDD7F-81F9-4771-A974-919973341291}" dt="2023-06-18T11:19:44.802" v="6496" actId="1035"/>
          <ac:picMkLst>
            <pc:docMk/>
            <pc:sldMk cId="1473440622" sldId="2147470202"/>
            <ac:picMk id="10" creationId="{B82D58FB-6AC7-420C-92CF-7628E453FF0F}"/>
          </ac:picMkLst>
        </pc:picChg>
        <pc:picChg chg="del mod">
          <ac:chgData name="Vervloet, Toni" userId="f28533a5-53b3-4f10-93bf-dd331599556d" providerId="ADAL" clId="{867EDD7F-81F9-4771-A974-919973341291}" dt="2023-06-14T14:28:51.854" v="5938" actId="478"/>
          <ac:picMkLst>
            <pc:docMk/>
            <pc:sldMk cId="1473440622" sldId="2147470202"/>
            <ac:picMk id="11" creationId="{277F83DA-1039-86AA-D912-A60A531ED056}"/>
          </ac:picMkLst>
        </pc:picChg>
        <pc:picChg chg="mod">
          <ac:chgData name="Vervloet, Toni" userId="f28533a5-53b3-4f10-93bf-dd331599556d" providerId="ADAL" clId="{867EDD7F-81F9-4771-A974-919973341291}" dt="2023-06-18T11:19:44.802" v="6496" actId="1035"/>
          <ac:picMkLst>
            <pc:docMk/>
            <pc:sldMk cId="1473440622" sldId="2147470202"/>
            <ac:picMk id="12" creationId="{D991B3FA-B097-61FC-E008-C6A32FD8A3DC}"/>
          </ac:picMkLst>
        </pc:picChg>
        <pc:picChg chg="mod ord">
          <ac:chgData name="Vervloet, Toni" userId="f28533a5-53b3-4f10-93bf-dd331599556d" providerId="ADAL" clId="{867EDD7F-81F9-4771-A974-919973341291}" dt="2023-06-18T11:19:33.338" v="6490" actId="166"/>
          <ac:picMkLst>
            <pc:docMk/>
            <pc:sldMk cId="1473440622" sldId="2147470202"/>
            <ac:picMk id="43010" creationId="{2389B263-00B3-B8EC-BA71-C3FBB42BCA9E}"/>
          </ac:picMkLst>
        </pc:picChg>
      </pc:sldChg>
      <pc:sldChg chg="delSp modSp add mod">
        <pc:chgData name="Vervloet, Toni" userId="f28533a5-53b3-4f10-93bf-dd331599556d" providerId="ADAL" clId="{867EDD7F-81F9-4771-A974-919973341291}" dt="2023-06-14T14:37:53.311" v="6151" actId="478"/>
        <pc:sldMkLst>
          <pc:docMk/>
          <pc:sldMk cId="3201401455" sldId="2147470203"/>
        </pc:sldMkLst>
        <pc:spChg chg="mod">
          <ac:chgData name="Vervloet, Toni" userId="f28533a5-53b3-4f10-93bf-dd331599556d" providerId="ADAL" clId="{867EDD7F-81F9-4771-A974-919973341291}" dt="2023-06-14T14:37:45.220" v="6131" actId="20577"/>
          <ac:spMkLst>
            <pc:docMk/>
            <pc:sldMk cId="3201401455" sldId="2147470203"/>
            <ac:spMk id="7" creationId="{361DB462-A110-1A10-7B1B-3F5E78CADDEB}"/>
          </ac:spMkLst>
        </pc:spChg>
        <pc:spChg chg="mod">
          <ac:chgData name="Vervloet, Toni" userId="f28533a5-53b3-4f10-93bf-dd331599556d" providerId="ADAL" clId="{867EDD7F-81F9-4771-A974-919973341291}" dt="2023-06-14T14:37:51.574" v="6150" actId="20577"/>
          <ac:spMkLst>
            <pc:docMk/>
            <pc:sldMk cId="3201401455" sldId="2147470203"/>
            <ac:spMk id="8" creationId="{0315F19B-DA0F-4BE3-AD29-99CC1DEFB9B3}"/>
          </ac:spMkLst>
        </pc:spChg>
        <pc:picChg chg="del">
          <ac:chgData name="Vervloet, Toni" userId="f28533a5-53b3-4f10-93bf-dd331599556d" providerId="ADAL" clId="{867EDD7F-81F9-4771-A974-919973341291}" dt="2023-06-14T14:37:53.311" v="6151" actId="478"/>
          <ac:picMkLst>
            <pc:docMk/>
            <pc:sldMk cId="3201401455" sldId="2147470203"/>
            <ac:picMk id="3" creationId="{3EC02E91-8D6A-6ED9-8C6C-8705DCF9ADAD}"/>
          </ac:picMkLst>
        </pc:picChg>
      </pc:sldChg>
      <pc:sldChg chg="add ord">
        <pc:chgData name="Vervloet, Toni" userId="f28533a5-53b3-4f10-93bf-dd331599556d" providerId="ADAL" clId="{867EDD7F-81F9-4771-A974-919973341291}" dt="2023-06-14T14:38:03.886" v="6154"/>
        <pc:sldMkLst>
          <pc:docMk/>
          <pc:sldMk cId="1760673469" sldId="2147470204"/>
        </pc:sldMkLst>
      </pc:sldChg>
      <pc:sldChg chg="addSp delSp modSp add mod delAnim modAnim modNotesTx">
        <pc:chgData name="Vervloet, Toni" userId="f28533a5-53b3-4f10-93bf-dd331599556d" providerId="ADAL" clId="{867EDD7F-81F9-4771-A974-919973341291}" dt="2023-06-26T15:48:15.472" v="7282" actId="255"/>
        <pc:sldMkLst>
          <pc:docMk/>
          <pc:sldMk cId="308267619" sldId="2147470207"/>
        </pc:sldMkLst>
        <pc:spChg chg="add del mod">
          <ac:chgData name="Vervloet, Toni" userId="f28533a5-53b3-4f10-93bf-dd331599556d" providerId="ADAL" clId="{867EDD7F-81F9-4771-A974-919973341291}" dt="2023-06-20T14:56:33.805" v="6729" actId="478"/>
          <ac:spMkLst>
            <pc:docMk/>
            <pc:sldMk cId="308267619" sldId="2147470207"/>
            <ac:spMk id="6" creationId="{89EF6573-4A96-C3BC-DE07-5FCE32D36BFA}"/>
          </ac:spMkLst>
        </pc:spChg>
        <pc:spChg chg="add mod">
          <ac:chgData name="Vervloet, Toni" userId="f28533a5-53b3-4f10-93bf-dd331599556d" providerId="ADAL" clId="{867EDD7F-81F9-4771-A974-919973341291}" dt="2023-06-20T15:04:53.303" v="6792" actId="14861"/>
          <ac:spMkLst>
            <pc:docMk/>
            <pc:sldMk cId="308267619" sldId="2147470207"/>
            <ac:spMk id="14" creationId="{506E1929-4A19-948E-4121-84CBAF7393C8}"/>
          </ac:spMkLst>
        </pc:spChg>
        <pc:picChg chg="add del mod">
          <ac:chgData name="Vervloet, Toni" userId="f28533a5-53b3-4f10-93bf-dd331599556d" providerId="ADAL" clId="{867EDD7F-81F9-4771-A974-919973341291}" dt="2023-06-20T14:56:33.805" v="6729" actId="478"/>
          <ac:picMkLst>
            <pc:docMk/>
            <pc:sldMk cId="308267619" sldId="2147470207"/>
            <ac:picMk id="5" creationId="{AD04447A-6077-AC44-CE88-2F0473DECE63}"/>
          </ac:picMkLst>
        </pc:picChg>
        <pc:picChg chg="add mod ord">
          <ac:chgData name="Vervloet, Toni" userId="f28533a5-53b3-4f10-93bf-dd331599556d" providerId="ADAL" clId="{867EDD7F-81F9-4771-A974-919973341291}" dt="2023-06-20T15:05:17.067" v="6793" actId="166"/>
          <ac:picMkLst>
            <pc:docMk/>
            <pc:sldMk cId="308267619" sldId="2147470207"/>
            <ac:picMk id="13" creationId="{E62E5484-A8BA-0505-7528-EC5B849027F6}"/>
          </ac:picMkLst>
        </pc:picChg>
        <pc:picChg chg="add del mod">
          <ac:chgData name="Vervloet, Toni" userId="f28533a5-53b3-4f10-93bf-dd331599556d" providerId="ADAL" clId="{867EDD7F-81F9-4771-A974-919973341291}" dt="2023-06-20T15:08:05.211" v="6809" actId="478"/>
          <ac:picMkLst>
            <pc:docMk/>
            <pc:sldMk cId="308267619" sldId="2147470207"/>
            <ac:picMk id="16" creationId="{57B9A308-6102-1716-CC10-7738FBDCAA79}"/>
          </ac:picMkLst>
        </pc:picChg>
      </pc:sldChg>
      <pc:sldMasterChg chg="delSldLayout modSldLayout">
        <pc:chgData name="Vervloet, Toni" userId="f28533a5-53b3-4f10-93bf-dd331599556d" providerId="ADAL" clId="{867EDD7F-81F9-4771-A974-919973341291}" dt="2023-06-14T14:38:05.744" v="6155" actId="47"/>
        <pc:sldMasterMkLst>
          <pc:docMk/>
          <pc:sldMasterMk cId="2730344243" sldId="2147483732"/>
        </pc:sldMasterMkLst>
        <pc:sldLayoutChg chg="modSp">
          <pc:chgData name="Vervloet, Toni" userId="f28533a5-53b3-4f10-93bf-dd331599556d" providerId="ADAL" clId="{867EDD7F-81F9-4771-A974-919973341291}" dt="2023-06-14T14:18:25.455" v="5885" actId="735"/>
          <pc:sldLayoutMkLst>
            <pc:docMk/>
            <pc:sldMasterMk cId="2730344243" sldId="2147483732"/>
            <pc:sldLayoutMk cId="2419383261" sldId="2147483734"/>
          </pc:sldLayoutMkLst>
        </pc:sldLayoutChg>
        <pc:sldLayoutChg chg="modSp">
          <pc:chgData name="Vervloet, Toni" userId="f28533a5-53b3-4f10-93bf-dd331599556d" providerId="ADAL" clId="{867EDD7F-81F9-4771-A974-919973341291}" dt="2023-06-14T14:18:38.313" v="5886" actId="735"/>
          <pc:sldLayoutMkLst>
            <pc:docMk/>
            <pc:sldMasterMk cId="2730344243" sldId="2147483732"/>
            <pc:sldLayoutMk cId="1207667000" sldId="2147483736"/>
          </pc:sldLayoutMkLst>
        </pc:sldLayoutChg>
        <pc:sldLayoutChg chg="modSp">
          <pc:chgData name="Vervloet, Toni" userId="f28533a5-53b3-4f10-93bf-dd331599556d" providerId="ADAL" clId="{867EDD7F-81F9-4771-A974-919973341291}" dt="2023-06-02T11:36:26.655" v="1076" actId="735"/>
          <pc:sldLayoutMkLst>
            <pc:docMk/>
            <pc:sldMasterMk cId="2730344243" sldId="2147483732"/>
            <pc:sldLayoutMk cId="600668721" sldId="2147483754"/>
          </pc:sldLayoutMkLst>
        </pc:sldLayoutChg>
        <pc:sldLayoutChg chg="modSp">
          <pc:chgData name="Vervloet, Toni" userId="f28533a5-53b3-4f10-93bf-dd331599556d" providerId="ADAL" clId="{867EDD7F-81F9-4771-A974-919973341291}" dt="2023-06-02T13:00:47.763" v="2549" actId="735"/>
          <pc:sldLayoutMkLst>
            <pc:docMk/>
            <pc:sldMasterMk cId="2730344243" sldId="2147483732"/>
            <pc:sldLayoutMk cId="3838326472" sldId="2147483773"/>
          </pc:sldLayoutMkLst>
        </pc:sldLayoutChg>
        <pc:sldLayoutChg chg="del">
          <pc:chgData name="Vervloet, Toni" userId="f28533a5-53b3-4f10-93bf-dd331599556d" providerId="ADAL" clId="{867EDD7F-81F9-4771-A974-919973341291}" dt="2023-06-14T14:38:05.744" v="6155" actId="47"/>
          <pc:sldLayoutMkLst>
            <pc:docMk/>
            <pc:sldMasterMk cId="2730344243" sldId="2147483732"/>
            <pc:sldLayoutMk cId="3758302110" sldId="2147483776"/>
          </pc:sldLayoutMkLst>
        </pc:sldLayoutChg>
        <pc:sldLayoutChg chg="modSp">
          <pc:chgData name="Vervloet, Toni" userId="f28533a5-53b3-4f10-93bf-dd331599556d" providerId="ADAL" clId="{867EDD7F-81F9-4771-A974-919973341291}" dt="2023-06-02T11:27:33.249" v="979" actId="735"/>
          <pc:sldLayoutMkLst>
            <pc:docMk/>
            <pc:sldMasterMk cId="2730344243" sldId="2147483732"/>
            <pc:sldLayoutMk cId="4123842440" sldId="2147483780"/>
          </pc:sldLayoutMkLst>
        </pc:sldLayoutChg>
        <pc:sldLayoutChg chg="del">
          <pc:chgData name="Vervloet, Toni" userId="f28533a5-53b3-4f10-93bf-dd331599556d" providerId="ADAL" clId="{867EDD7F-81F9-4771-A974-919973341291}" dt="2023-06-05T12:52:25.474" v="4492" actId="47"/>
          <pc:sldLayoutMkLst>
            <pc:docMk/>
            <pc:sldMasterMk cId="2730344243" sldId="2147483732"/>
            <pc:sldLayoutMk cId="2133614109" sldId="2147483789"/>
          </pc:sldLayoutMkLst>
        </pc:sldLayoutChg>
      </pc:sldMasterChg>
    </pc:docChg>
  </pc:docChgLst>
  <pc:docChgLst>
    <pc:chgData name="Verbeken, Michael" userId="c471e429-7a71-4412-91b8-bab221fd9b67" providerId="ADAL" clId="{3EF3F2B6-C829-4834-AFFD-F3F14308BFBA}"/>
    <pc:docChg chg="custSel modSld">
      <pc:chgData name="Verbeken, Michael" userId="c471e429-7a71-4412-91b8-bab221fd9b67" providerId="ADAL" clId="{3EF3F2B6-C829-4834-AFFD-F3F14308BFBA}" dt="2023-05-24T11:37:18.519" v="1" actId="27636"/>
      <pc:docMkLst>
        <pc:docMk/>
      </pc:docMkLst>
      <pc:sldChg chg="modNotes">
        <pc:chgData name="Verbeken, Michael" userId="c471e429-7a71-4412-91b8-bab221fd9b67" providerId="ADAL" clId="{3EF3F2B6-C829-4834-AFFD-F3F14308BFBA}" dt="2023-05-24T11:37:18.294" v="0" actId="27636"/>
        <pc:sldMkLst>
          <pc:docMk/>
          <pc:sldMk cId="2507184362" sldId="2147469527"/>
        </pc:sldMkLst>
      </pc:sldChg>
      <pc:sldChg chg="modNotes">
        <pc:chgData name="Verbeken, Michael" userId="c471e429-7a71-4412-91b8-bab221fd9b67" providerId="ADAL" clId="{3EF3F2B6-C829-4834-AFFD-F3F14308BFBA}" dt="2023-05-24T11:37:18.519" v="1" actId="27636"/>
        <pc:sldMkLst>
          <pc:docMk/>
          <pc:sldMk cId="2767927351" sldId="2147469546"/>
        </pc:sldMkLst>
      </pc:sldChg>
    </pc:docChg>
  </pc:docChgLst>
  <pc:docChgLst>
    <pc:chgData name="Vervloet, Toni" userId="f28533a5-53b3-4f10-93bf-dd331599556d" providerId="ADAL" clId="{84E3FAE0-22FB-47C1-84BB-1964970A2D07}"/>
    <pc:docChg chg="undo custSel addSld delSld modSld sldOrd modMainMaster addSection delSection modSection">
      <pc:chgData name="Vervloet, Toni" userId="f28533a5-53b3-4f10-93bf-dd331599556d" providerId="ADAL" clId="{84E3FAE0-22FB-47C1-84BB-1964970A2D07}" dt="2023-05-10T13:56:49.549" v="5975" actId="962"/>
      <pc:docMkLst>
        <pc:docMk/>
      </pc:docMkLst>
      <pc:sldChg chg="addSp delSp modSp mod modNotesTx">
        <pc:chgData name="Vervloet, Toni" userId="f28533a5-53b3-4f10-93bf-dd331599556d" providerId="ADAL" clId="{84E3FAE0-22FB-47C1-84BB-1964970A2D07}" dt="2023-05-10T13:56:49.549" v="5975" actId="962"/>
        <pc:sldMkLst>
          <pc:docMk/>
          <pc:sldMk cId="1836638084" sldId="257"/>
        </pc:sldMkLst>
        <pc:spChg chg="mod">
          <ac:chgData name="Vervloet, Toni" userId="f28533a5-53b3-4f10-93bf-dd331599556d" providerId="ADAL" clId="{84E3FAE0-22FB-47C1-84BB-1964970A2D07}" dt="2023-05-10T13:54:15.306" v="5968" actId="6549"/>
          <ac:spMkLst>
            <pc:docMk/>
            <pc:sldMk cId="1836638084" sldId="257"/>
            <ac:spMk id="2" creationId="{0696D550-AA1E-19CB-F8FC-4550598E91F5}"/>
          </ac:spMkLst>
        </pc:spChg>
        <pc:spChg chg="mod">
          <ac:chgData name="Vervloet, Toni" userId="f28533a5-53b3-4f10-93bf-dd331599556d" providerId="ADAL" clId="{84E3FAE0-22FB-47C1-84BB-1964970A2D07}" dt="2023-05-10T13:54:08.532" v="5967" actId="2710"/>
          <ac:spMkLst>
            <pc:docMk/>
            <pc:sldMk cId="1836638084" sldId="257"/>
            <ac:spMk id="3" creationId="{D7F7C231-56A6-D294-54B1-C61690C8C16C}"/>
          </ac:spMkLst>
        </pc:spChg>
        <pc:spChg chg="add mod">
          <ac:chgData name="Vervloet, Toni" userId="f28533a5-53b3-4f10-93bf-dd331599556d" providerId="ADAL" clId="{84E3FAE0-22FB-47C1-84BB-1964970A2D07}" dt="2023-05-10T13:56:49.549" v="5975" actId="962"/>
          <ac:spMkLst>
            <pc:docMk/>
            <pc:sldMk cId="1836638084" sldId="257"/>
            <ac:spMk id="8" creationId="{D9CE87E0-2EA6-1BF1-5EAF-059305B496B6}"/>
          </ac:spMkLst>
        </pc:spChg>
        <pc:picChg chg="add del mod">
          <ac:chgData name="Vervloet, Toni" userId="f28533a5-53b3-4f10-93bf-dd331599556d" providerId="ADAL" clId="{84E3FAE0-22FB-47C1-84BB-1964970A2D07}" dt="2023-05-10T13:55:30.041" v="5971" actId="478"/>
          <ac:picMkLst>
            <pc:docMk/>
            <pc:sldMk cId="1836638084" sldId="257"/>
            <ac:picMk id="5" creationId="{08DC40B9-E079-0118-7267-5A904B4D48C4}"/>
          </ac:picMkLst>
        </pc:picChg>
        <pc:picChg chg="add mod">
          <ac:chgData name="Vervloet, Toni" userId="f28533a5-53b3-4f10-93bf-dd331599556d" providerId="ADAL" clId="{84E3FAE0-22FB-47C1-84BB-1964970A2D07}" dt="2023-05-10T13:56:49.549" v="5975" actId="962"/>
          <ac:picMkLst>
            <pc:docMk/>
            <pc:sldMk cId="1836638084" sldId="257"/>
            <ac:picMk id="7" creationId="{DC70BCB5-C7E3-023B-8024-C12228A4DD26}"/>
          </ac:picMkLst>
        </pc:picChg>
      </pc:sldChg>
      <pc:sldChg chg="addSp delSp modSp mod ord">
        <pc:chgData name="Vervloet, Toni" userId="f28533a5-53b3-4f10-93bf-dd331599556d" providerId="ADAL" clId="{84E3FAE0-22FB-47C1-84BB-1964970A2D07}" dt="2023-05-10T13:48:38.855" v="5965" actId="14100"/>
        <pc:sldMkLst>
          <pc:docMk/>
          <pc:sldMk cId="3397427048" sldId="258"/>
        </pc:sldMkLst>
        <pc:spChg chg="mod">
          <ac:chgData name="Vervloet, Toni" userId="f28533a5-53b3-4f10-93bf-dd331599556d" providerId="ADAL" clId="{84E3FAE0-22FB-47C1-84BB-1964970A2D07}" dt="2023-05-10T13:46:28.118" v="5954" actId="20577"/>
          <ac:spMkLst>
            <pc:docMk/>
            <pc:sldMk cId="3397427048" sldId="258"/>
            <ac:spMk id="2" creationId="{793D91DF-4427-47DB-79BA-2F8B12080944}"/>
          </ac:spMkLst>
        </pc:spChg>
        <pc:spChg chg="mod">
          <ac:chgData name="Vervloet, Toni" userId="f28533a5-53b3-4f10-93bf-dd331599556d" providerId="ADAL" clId="{84E3FAE0-22FB-47C1-84BB-1964970A2D07}" dt="2023-05-10T13:46:17.329" v="5943" actId="14100"/>
          <ac:spMkLst>
            <pc:docMk/>
            <pc:sldMk cId="3397427048" sldId="258"/>
            <ac:spMk id="3" creationId="{7AD2C646-ABE7-E893-0CD9-843A4C232524}"/>
          </ac:spMkLst>
        </pc:spChg>
        <pc:spChg chg="add del">
          <ac:chgData name="Vervloet, Toni" userId="f28533a5-53b3-4f10-93bf-dd331599556d" providerId="ADAL" clId="{84E3FAE0-22FB-47C1-84BB-1964970A2D07}" dt="2023-05-10T13:47:40.387" v="5959" actId="478"/>
          <ac:spMkLst>
            <pc:docMk/>
            <pc:sldMk cId="3397427048" sldId="258"/>
            <ac:spMk id="6" creationId="{372586A3-ACE7-52FC-EF60-999175B90C5A}"/>
          </ac:spMkLst>
        </pc:spChg>
        <pc:picChg chg="add del mod">
          <ac:chgData name="Vervloet, Toni" userId="f28533a5-53b3-4f10-93bf-dd331599556d" providerId="ADAL" clId="{84E3FAE0-22FB-47C1-84BB-1964970A2D07}" dt="2023-05-10T13:44:19.492" v="5932" actId="478"/>
          <ac:picMkLst>
            <pc:docMk/>
            <pc:sldMk cId="3397427048" sldId="258"/>
            <ac:picMk id="5" creationId="{A6A290E5-90A8-0745-5488-A749E9308F9A}"/>
          </ac:picMkLst>
        </pc:picChg>
        <pc:picChg chg="add del mod">
          <ac:chgData name="Vervloet, Toni" userId="f28533a5-53b3-4f10-93bf-dd331599556d" providerId="ADAL" clId="{84E3FAE0-22FB-47C1-84BB-1964970A2D07}" dt="2023-05-10T13:46:34.670" v="5955" actId="478"/>
          <ac:picMkLst>
            <pc:docMk/>
            <pc:sldMk cId="3397427048" sldId="258"/>
            <ac:picMk id="1026" creationId="{6C2892AD-D3C1-AC43-283B-D3ADD79B8278}"/>
          </ac:picMkLst>
        </pc:picChg>
        <pc:picChg chg="add del">
          <ac:chgData name="Vervloet, Toni" userId="f28533a5-53b3-4f10-93bf-dd331599556d" providerId="ADAL" clId="{84E3FAE0-22FB-47C1-84BB-1964970A2D07}" dt="2023-05-10T13:47:34.693" v="5957" actId="478"/>
          <ac:picMkLst>
            <pc:docMk/>
            <pc:sldMk cId="3397427048" sldId="258"/>
            <ac:picMk id="1028" creationId="{90FE3064-F0F4-CED1-DF6D-F0916518014B}"/>
          </ac:picMkLst>
        </pc:picChg>
        <pc:picChg chg="add mod">
          <ac:chgData name="Vervloet, Toni" userId="f28533a5-53b3-4f10-93bf-dd331599556d" providerId="ADAL" clId="{84E3FAE0-22FB-47C1-84BB-1964970A2D07}" dt="2023-05-10T13:48:38.855" v="5965" actId="14100"/>
          <ac:picMkLst>
            <pc:docMk/>
            <pc:sldMk cId="3397427048" sldId="258"/>
            <ac:picMk id="1032" creationId="{EE4874FA-4884-2741-0F30-BF81C4002F41}"/>
          </ac:picMkLst>
        </pc:picChg>
      </pc:sldChg>
      <pc:sldChg chg="del">
        <pc:chgData name="Vervloet, Toni" userId="f28533a5-53b3-4f10-93bf-dd331599556d" providerId="ADAL" clId="{84E3FAE0-22FB-47C1-84BB-1964970A2D07}" dt="2023-05-04T07:40:53.860" v="1330" actId="47"/>
        <pc:sldMkLst>
          <pc:docMk/>
          <pc:sldMk cId="453012503" sldId="259"/>
        </pc:sldMkLst>
      </pc:sldChg>
      <pc:sldChg chg="addSp modSp add mod">
        <pc:chgData name="Vervloet, Toni" userId="f28533a5-53b3-4f10-93bf-dd331599556d" providerId="ADAL" clId="{84E3FAE0-22FB-47C1-84BB-1964970A2D07}" dt="2023-05-10T13:30:26.786" v="5756" actId="1076"/>
        <pc:sldMkLst>
          <pc:docMk/>
          <pc:sldMk cId="1788363932" sldId="2682"/>
        </pc:sldMkLst>
        <pc:spChg chg="mod">
          <ac:chgData name="Vervloet, Toni" userId="f28533a5-53b3-4f10-93bf-dd331599556d" providerId="ADAL" clId="{84E3FAE0-22FB-47C1-84BB-1964970A2D07}" dt="2023-05-10T13:29:59.271" v="5751" actId="20577"/>
          <ac:spMkLst>
            <pc:docMk/>
            <pc:sldMk cId="1788363932" sldId="2682"/>
            <ac:spMk id="65" creationId="{0EBD92D1-BF5F-EE48-9B44-E9C5D154DF28}"/>
          </ac:spMkLst>
        </pc:spChg>
        <pc:picChg chg="add mod">
          <ac:chgData name="Vervloet, Toni" userId="f28533a5-53b3-4f10-93bf-dd331599556d" providerId="ADAL" clId="{84E3FAE0-22FB-47C1-84BB-1964970A2D07}" dt="2023-05-10T13:30:26.786" v="5756" actId="1076"/>
          <ac:picMkLst>
            <pc:docMk/>
            <pc:sldMk cId="1788363932" sldId="2682"/>
            <ac:picMk id="2" creationId="{972D20DE-2B24-A665-EBCC-9F5EC2BC0B11}"/>
          </ac:picMkLst>
        </pc:picChg>
        <pc:picChg chg="ord">
          <ac:chgData name="Vervloet, Toni" userId="f28533a5-53b3-4f10-93bf-dd331599556d" providerId="ADAL" clId="{84E3FAE0-22FB-47C1-84BB-1964970A2D07}" dt="2023-05-10T13:30:18.010" v="5755" actId="166"/>
          <ac:picMkLst>
            <pc:docMk/>
            <pc:sldMk cId="1788363932" sldId="2682"/>
            <ac:picMk id="4" creationId="{59EB6EFA-537B-2E44-9E4F-F0D4332B3F71}"/>
          </ac:picMkLst>
        </pc:picChg>
      </pc:sldChg>
      <pc:sldChg chg="addSp delSp modSp mod modShow modNotesTx">
        <pc:chgData name="Vervloet, Toni" userId="f28533a5-53b3-4f10-93bf-dd331599556d" providerId="ADAL" clId="{84E3FAE0-22FB-47C1-84BB-1964970A2D07}" dt="2023-05-10T11:24:13.632" v="3258" actId="1076"/>
        <pc:sldMkLst>
          <pc:docMk/>
          <pc:sldMk cId="937078507" sldId="2147469525"/>
        </pc:sldMkLst>
        <pc:spChg chg="del mod">
          <ac:chgData name="Vervloet, Toni" userId="f28533a5-53b3-4f10-93bf-dd331599556d" providerId="ADAL" clId="{84E3FAE0-22FB-47C1-84BB-1964970A2D07}" dt="2023-05-10T11:14:01.748" v="3171" actId="478"/>
          <ac:spMkLst>
            <pc:docMk/>
            <pc:sldMk cId="937078507" sldId="2147469525"/>
            <ac:spMk id="8" creationId="{2EE9FF8D-741C-472C-BE36-F67BEF37DAC2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9" creationId="{8FF03869-39DD-4BDA-B18F-D2544B501F0C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63" creationId="{90ECDF14-33D0-4B0E-84E1-CD64567B500C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70" creationId="{933DDB78-133C-4632-B26C-4F9BC4C72F08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75" creationId="{6E1AE1D1-B4DD-4078-A49D-80DEFD942ED5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76" creationId="{0850EC91-FC45-43F3-8F6F-4A94562C1796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77" creationId="{A4B63C49-7093-4FB4-9677-83FE46B80624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78" creationId="{016796FB-AC24-4E5A-8C22-4FF6F31C2F6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83" creationId="{0E158414-6A04-4D77-A1AB-CD206ED693C0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84" creationId="{20D6F196-F9D7-417B-8B90-855159E8F13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85" creationId="{B788B9DA-C8F0-42C5-8AC0-A8D99C18643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86" creationId="{B59A2BEC-4D47-45BC-91A2-BFE05368EBA9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91" creationId="{9D5BA921-8C9D-4012-BDCD-DF97435129A9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92" creationId="{3CDF0CE2-21B3-47A7-9AA3-67E74B16263B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93" creationId="{18441526-4F37-4332-A2D0-632066EB999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05" creationId="{2E7F0C63-7891-4ADC-9FDE-2B1D159B83AA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06" creationId="{169BFB85-A36F-4832-A190-1F31A29DCA90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07" creationId="{4EFCFA5D-A94C-488E-B9E3-4CB6816FF871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08" creationId="{3261CDA3-912A-4E6C-9262-EB8DE1DD4BF8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09" creationId="{F67A6709-D536-4F51-B14B-625C5B829000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2" creationId="{5C6B3413-8DF0-497A-B39D-0A9C52CFC9B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3" creationId="{C0E6F0D7-246D-4E6D-8A03-8B30FC3D51D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4" creationId="{BF734623-39E6-4241-8428-BF409D2BB346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5" creationId="{0D86EE66-3CF6-4288-8A3E-14A78DBCE499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6" creationId="{C6F67DC3-3BD7-4D52-A694-7876ECFDD9A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7" creationId="{C01E2008-67DB-4BC0-A547-5C2CE5869908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8" creationId="{DE2664ED-5A3D-49B3-A536-D65AC7A268C2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19" creationId="{3EA8EBF8-01D0-4A10-A7E0-BD6537E70152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20" creationId="{FC223EA0-C91B-42DB-B3A2-7F95226472EE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23" creationId="{91E2E320-87E2-43A5-A86F-2B8AF45BE6E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124" creationId="{64AC183F-89BF-4199-AEA9-230EBC1DA844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36" creationId="{C1A88598-48D6-4D9B-9766-307EC43634F6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37" creationId="{90BD9E94-4745-4FC1-96FC-0DE38CFEAC90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38" creationId="{7B72C675-2D19-4D1F-A48B-6659B0BA9A64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39" creationId="{BB116F18-180E-4F9D-8819-FA5AA86A4A9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0" creationId="{2B7C9926-F754-474E-9A4D-AE764A44D9D7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1" creationId="{04528A12-91CA-4AF8-83B3-5E6C6EA2B7A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2" creationId="{551D8AB4-93F4-4641-8951-34B2CB9BB30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3" creationId="{7AFC3DFC-C5D3-4E7D-91C9-85CB72FFA254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4" creationId="{F7876B57-3A4B-4610-9DCE-0CF41DA3508C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5" creationId="{D1DB5EFD-44CE-4BA4-890A-EEDE1C0E5C60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6" creationId="{FFDEAA3B-B79F-44B3-BAC2-7FE81E45899E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49" creationId="{D9EC9FC7-17C4-4055-ACCD-E348CDA1BA59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0" creationId="{90C27F3E-DFC7-4C41-AE50-C2323C9D410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1" creationId="{F269BEA9-F10B-41A5-9AB7-9849AC2DBCE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2" creationId="{6E6FB9F1-2389-4CB9-B481-F18F49E666E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3" creationId="{C5BF72EB-2CC8-45FE-97EF-39E9316D90F8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4" creationId="{1BD7E9EF-C90D-4AEA-B5FF-2551B32E8BFC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8" creationId="{D1017C82-278F-4807-9763-2411DF92077A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59" creationId="{F79FD231-70E9-493B-A210-B5C8545E018A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0" creationId="{7DA6CAD3-3FBE-4DCC-A109-CEC4B4F73F74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1" creationId="{56CB36A4-73EB-464D-960A-0A60C611CB6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2" creationId="{B90C4803-9796-4168-A809-93C4878E46B6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3" creationId="{4AAC977E-6A44-4D44-996C-A78C6C614FAC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4" creationId="{5DC3F44C-BD38-44FC-A8F6-40E53F8EF93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5" creationId="{6A3E4357-BD52-40BD-9CD9-8B8EF0722897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6" creationId="{AC2370AD-E612-4779-BE74-13606F8DD045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7" creationId="{9CE7D379-0235-4365-BF6B-E3C6923A0152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8" creationId="{ACDDCCE7-9572-4417-86E3-432E0AD75970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69" creationId="{580228D4-FBD4-415A-B25F-DE58D00C0A2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0" creationId="{3E13916E-C991-444F-994B-5D9C1E125C44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3" creationId="{3F2AB4B7-9386-4CA7-A805-73AB551C161B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4" creationId="{7CF96FCD-A9A5-438E-B9DE-29E092C6B346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5" creationId="{E0B54874-8845-4BF7-BC3F-2D90F80D55A7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6" creationId="{8E3258A6-8B8B-43F4-89D9-064CF2AA189A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7" creationId="{3D35E30F-5A7D-4D17-932D-C57BF5F30CE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79" creationId="{36AEE6C2-CE81-4C18-8A12-8B7A3AA60313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0" creationId="{8EA7D798-DB37-4E54-8BCB-B0BEA41A5AC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1" creationId="{00115DBA-8A13-44C7-8D26-F3296CB52C1A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2" creationId="{70A883CE-EB2D-44C5-9B42-E4D8D46FFE1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3" creationId="{068E1A9D-C963-41EC-8B0E-FE529966118C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4" creationId="{7290562E-F2E6-4E59-B2B4-E0C15C469AE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5" creationId="{0F65522B-5901-4A65-A891-AD04F18A076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8" creationId="{BFF9EE22-4142-4641-8BB6-C53A82DD203D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89" creationId="{B510C7FC-B9AD-4455-8BF3-23E967D2B42F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90" creationId="{B92695E4-A7FE-4EF3-BFEE-34738283F4F1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91" creationId="{7F47DC91-E8D6-47AE-B5CE-FB65135F6361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92" creationId="{45E1A901-E4FD-4740-A0F3-66CF4D2AEFA9}"/>
          </ac:spMkLst>
        </pc:spChg>
        <pc:spChg chg="mod">
          <ac:chgData name="Vervloet, Toni" userId="f28533a5-53b3-4f10-93bf-dd331599556d" providerId="ADAL" clId="{84E3FAE0-22FB-47C1-84BB-1964970A2D07}" dt="2023-05-10T11:24:13.632" v="3258" actId="1076"/>
          <ac:spMkLst>
            <pc:docMk/>
            <pc:sldMk cId="937078507" sldId="2147469525"/>
            <ac:spMk id="593" creationId="{7777E0E3-90FE-4E1D-97D3-3F4C32D17976}"/>
          </ac:spMkLst>
        </pc:spChg>
        <pc:grpChg chg="mod">
          <ac:chgData name="Vervloet, Toni" userId="f28533a5-53b3-4f10-93bf-dd331599556d" providerId="ADAL" clId="{84E3FAE0-22FB-47C1-84BB-1964970A2D07}" dt="2023-05-10T11:24:13.632" v="3258" actId="1076"/>
          <ac:grpSpMkLst>
            <pc:docMk/>
            <pc:sldMk cId="937078507" sldId="2147469525"/>
            <ac:grpSpMk id="2" creationId="{71229DCF-1D2B-446B-8175-C980628E389E}"/>
          </ac:grpSpMkLst>
        </pc:grpChg>
        <pc:grpChg chg="add mod">
          <ac:chgData name="Vervloet, Toni" userId="f28533a5-53b3-4f10-93bf-dd331599556d" providerId="ADAL" clId="{84E3FAE0-22FB-47C1-84BB-1964970A2D07}" dt="2023-05-10T11:24:13.632" v="3258" actId="1076"/>
          <ac:grpSpMkLst>
            <pc:docMk/>
            <pc:sldMk cId="937078507" sldId="2147469525"/>
            <ac:grpSpMk id="3" creationId="{02499BC7-68E0-87DA-71F2-D33696102650}"/>
          </ac:grpSpMkLst>
        </pc:grpChg>
        <pc:grpChg chg="mod">
          <ac:chgData name="Vervloet, Toni" userId="f28533a5-53b3-4f10-93bf-dd331599556d" providerId="ADAL" clId="{84E3FAE0-22FB-47C1-84BB-1964970A2D07}" dt="2023-05-10T11:24:13.632" v="3258" actId="1076"/>
          <ac:grpSpMkLst>
            <pc:docMk/>
            <pc:sldMk cId="937078507" sldId="2147469525"/>
            <ac:grpSpMk id="4" creationId="{DA65B8C5-C74A-4B34-999A-1612F12C9CF5}"/>
          </ac:grpSpMkLst>
        </pc:grpChg>
        <pc:grpChg chg="mod">
          <ac:chgData name="Vervloet, Toni" userId="f28533a5-53b3-4f10-93bf-dd331599556d" providerId="ADAL" clId="{84E3FAE0-22FB-47C1-84BB-1964970A2D07}" dt="2023-05-10T11:24:13.632" v="3258" actId="1076"/>
          <ac:grpSpMkLst>
            <pc:docMk/>
            <pc:sldMk cId="937078507" sldId="2147469525"/>
            <ac:grpSpMk id="17" creationId="{F384B72F-7723-4B9B-BB20-F1C4F3481553}"/>
          </ac:grpSpMkLst>
        </pc:grpChg>
        <pc:picChg chg="del mod">
          <ac:chgData name="Vervloet, Toni" userId="f28533a5-53b3-4f10-93bf-dd331599556d" providerId="ADAL" clId="{84E3FAE0-22FB-47C1-84BB-1964970A2D07}" dt="2023-05-10T11:13:58.605" v="3170" actId="478"/>
          <ac:picMkLst>
            <pc:docMk/>
            <pc:sldMk cId="937078507" sldId="2147469525"/>
            <ac:picMk id="87" creationId="{D5203327-D7A5-48A3-864E-05184A64A8E6}"/>
          </ac:picMkLst>
        </pc:picChg>
        <pc:picChg chg="mod">
          <ac:chgData name="Vervloet, Toni" userId="f28533a5-53b3-4f10-93bf-dd331599556d" providerId="ADAL" clId="{84E3FAE0-22FB-47C1-84BB-1964970A2D07}" dt="2023-05-10T11:24:13.632" v="3258" actId="1076"/>
          <ac:picMkLst>
            <pc:docMk/>
            <pc:sldMk cId="937078507" sldId="2147469525"/>
            <ac:picMk id="618" creationId="{6544849C-B031-4B93-90A6-51499BDD71D9}"/>
          </ac:picMkLst>
        </pc:picChg>
      </pc:sldChg>
      <pc:sldChg chg="modSp mod modNotesTx">
        <pc:chgData name="Vervloet, Toni" userId="f28533a5-53b3-4f10-93bf-dd331599556d" providerId="ADAL" clId="{84E3FAE0-22FB-47C1-84BB-1964970A2D07}" dt="2023-05-10T11:23:26.143" v="3251" actId="14100"/>
        <pc:sldMkLst>
          <pc:docMk/>
          <pc:sldMk cId="2507184362" sldId="2147469527"/>
        </pc:sldMkLst>
        <pc:spChg chg="mod">
          <ac:chgData name="Vervloet, Toni" userId="f28533a5-53b3-4f10-93bf-dd331599556d" providerId="ADAL" clId="{84E3FAE0-22FB-47C1-84BB-1964970A2D07}" dt="2023-05-10T11:12:47.251" v="3167" actId="1076"/>
          <ac:spMkLst>
            <pc:docMk/>
            <pc:sldMk cId="2507184362" sldId="2147469527"/>
            <ac:spMk id="5" creationId="{A6BD051E-82B7-47D2-8EF8-320D329FCC0F}"/>
          </ac:spMkLst>
        </pc:spChg>
        <pc:picChg chg="mod">
          <ac:chgData name="Vervloet, Toni" userId="f28533a5-53b3-4f10-93bf-dd331599556d" providerId="ADAL" clId="{84E3FAE0-22FB-47C1-84BB-1964970A2D07}" dt="2023-05-10T11:23:26.143" v="3251" actId="14100"/>
          <ac:picMkLst>
            <pc:docMk/>
            <pc:sldMk cId="2507184362" sldId="2147469527"/>
            <ac:picMk id="16" creationId="{6DED21B6-221D-42BF-B180-088158D34B71}"/>
          </ac:picMkLst>
        </pc:picChg>
      </pc:sldChg>
      <pc:sldChg chg="addSp delSp modSp mod modNotesTx">
        <pc:chgData name="Vervloet, Toni" userId="f28533a5-53b3-4f10-93bf-dd331599556d" providerId="ADAL" clId="{84E3FAE0-22FB-47C1-84BB-1964970A2D07}" dt="2023-05-10T11:24:07.031" v="3257" actId="1076"/>
        <pc:sldMkLst>
          <pc:docMk/>
          <pc:sldMk cId="2767927351" sldId="2147469546"/>
        </pc:sldMkLst>
        <pc:spChg chg="mod">
          <ac:chgData name="Vervloet, Toni" userId="f28533a5-53b3-4f10-93bf-dd331599556d" providerId="ADAL" clId="{84E3FAE0-22FB-47C1-84BB-1964970A2D07}" dt="2023-05-10T11:19:44.746" v="3199" actId="20577"/>
          <ac:spMkLst>
            <pc:docMk/>
            <pc:sldMk cId="2767927351" sldId="2147469546"/>
            <ac:spMk id="2" creationId="{0B456289-2F8C-46ED-8EF5-AEF0B181A879}"/>
          </ac:spMkLst>
        </pc:spChg>
        <pc:spChg chg="add del mod">
          <ac:chgData name="Vervloet, Toni" userId="f28533a5-53b3-4f10-93bf-dd331599556d" providerId="ADAL" clId="{84E3FAE0-22FB-47C1-84BB-1964970A2D07}" dt="2023-05-10T11:21:11.866" v="3206" actId="478"/>
          <ac:spMkLst>
            <pc:docMk/>
            <pc:sldMk cId="2767927351" sldId="2147469546"/>
            <ac:spMk id="5" creationId="{F9781546-3505-5458-3B04-832A263B19C3}"/>
          </ac:spMkLst>
        </pc:spChg>
        <pc:spChg chg="add del mod">
          <ac:chgData name="Vervloet, Toni" userId="f28533a5-53b3-4f10-93bf-dd331599556d" providerId="ADAL" clId="{84E3FAE0-22FB-47C1-84BB-1964970A2D07}" dt="2023-05-10T11:24:05.075" v="3256" actId="478"/>
          <ac:spMkLst>
            <pc:docMk/>
            <pc:sldMk cId="2767927351" sldId="2147469546"/>
            <ac:spMk id="8" creationId="{47AD6F6B-4310-8665-532F-85978B9B743E}"/>
          </ac:spMkLst>
        </pc:spChg>
        <pc:spChg chg="mod">
          <ac:chgData name="Vervloet, Toni" userId="f28533a5-53b3-4f10-93bf-dd331599556d" providerId="ADAL" clId="{84E3FAE0-22FB-47C1-84BB-1964970A2D07}" dt="2023-05-10T11:21:54.203" v="3209" actId="14100"/>
          <ac:spMkLst>
            <pc:docMk/>
            <pc:sldMk cId="2767927351" sldId="2147469546"/>
            <ac:spMk id="17" creationId="{3D0CA0EA-9A6F-4A14-9A09-5C8D53F9822A}"/>
          </ac:spMkLst>
        </pc:spChg>
        <pc:spChg chg="mod">
          <ac:chgData name="Vervloet, Toni" userId="f28533a5-53b3-4f10-93bf-dd331599556d" providerId="ADAL" clId="{84E3FAE0-22FB-47C1-84BB-1964970A2D07}" dt="2023-05-10T11:21:52.139" v="3208" actId="14100"/>
          <ac:spMkLst>
            <pc:docMk/>
            <pc:sldMk cId="2767927351" sldId="2147469546"/>
            <ac:spMk id="22" creationId="{193524CE-AECA-4674-879F-960CA3B03785}"/>
          </ac:spMkLst>
        </pc:spChg>
        <pc:spChg chg="mod">
          <ac:chgData name="Vervloet, Toni" userId="f28533a5-53b3-4f10-93bf-dd331599556d" providerId="ADAL" clId="{84E3FAE0-22FB-47C1-84BB-1964970A2D07}" dt="2023-05-10T11:21:48.727" v="3207" actId="14100"/>
          <ac:spMkLst>
            <pc:docMk/>
            <pc:sldMk cId="2767927351" sldId="2147469546"/>
            <ac:spMk id="23" creationId="{6D92BA22-827C-4283-8263-532D94BC0E81}"/>
          </ac:spMkLst>
        </pc:spChg>
        <pc:picChg chg="add del mod">
          <ac:chgData name="Vervloet, Toni" userId="f28533a5-53b3-4f10-93bf-dd331599556d" providerId="ADAL" clId="{84E3FAE0-22FB-47C1-84BB-1964970A2D07}" dt="2023-05-10T11:24:07.031" v="3257" actId="1076"/>
          <ac:picMkLst>
            <pc:docMk/>
            <pc:sldMk cId="2767927351" sldId="2147469546"/>
            <ac:picMk id="4" creationId="{0F98A9E0-1781-1187-2A89-B816817199FB}"/>
          </ac:picMkLst>
        </pc:picChg>
        <pc:picChg chg="del">
          <ac:chgData name="Vervloet, Toni" userId="f28533a5-53b3-4f10-93bf-dd331599556d" providerId="ADAL" clId="{84E3FAE0-22FB-47C1-84BB-1964970A2D07}" dt="2023-05-10T11:21:01.981" v="3201" actId="478"/>
          <ac:picMkLst>
            <pc:docMk/>
            <pc:sldMk cId="2767927351" sldId="2147469546"/>
            <ac:picMk id="9" creationId="{8E766563-37CE-4E21-8997-9BE97573A6D8}"/>
          </ac:picMkLst>
        </pc:picChg>
      </pc:sldChg>
      <pc:sldChg chg="addSp delSp modSp mod modNotesTx">
        <pc:chgData name="Vervloet, Toni" userId="f28533a5-53b3-4f10-93bf-dd331599556d" providerId="ADAL" clId="{84E3FAE0-22FB-47C1-84BB-1964970A2D07}" dt="2023-05-10T13:26:27.916" v="5733" actId="27636"/>
        <pc:sldMkLst>
          <pc:docMk/>
          <pc:sldMk cId="3580978443" sldId="2147469549"/>
        </pc:sldMkLst>
        <pc:spChg chg="add mod">
          <ac:chgData name="Vervloet, Toni" userId="f28533a5-53b3-4f10-93bf-dd331599556d" providerId="ADAL" clId="{84E3FAE0-22FB-47C1-84BB-1964970A2D07}" dt="2023-05-10T11:43:14.230" v="3901" actId="6549"/>
          <ac:spMkLst>
            <pc:docMk/>
            <pc:sldMk cId="3580978443" sldId="2147469549"/>
            <ac:spMk id="2" creationId="{26B1E595-8D2B-FCC0-3450-88F880E14FEF}"/>
          </ac:spMkLst>
        </pc:spChg>
        <pc:spChg chg="del mod">
          <ac:chgData name="Vervloet, Toni" userId="f28533a5-53b3-4f10-93bf-dd331599556d" providerId="ADAL" clId="{84E3FAE0-22FB-47C1-84BB-1964970A2D07}" dt="2023-05-04T08:14:12.458" v="1799" actId="478"/>
          <ac:spMkLst>
            <pc:docMk/>
            <pc:sldMk cId="3580978443" sldId="2147469549"/>
            <ac:spMk id="3" creationId="{E200F3F4-D6E2-447B-89CD-AE30D2853553}"/>
          </ac:spMkLst>
        </pc:spChg>
        <pc:spChg chg="mod">
          <ac:chgData name="Vervloet, Toni" userId="f28533a5-53b3-4f10-93bf-dd331599556d" providerId="ADAL" clId="{84E3FAE0-22FB-47C1-84BB-1964970A2D07}" dt="2023-05-04T08:06:27.330" v="1712" actId="1076"/>
          <ac:spMkLst>
            <pc:docMk/>
            <pc:sldMk cId="3580978443" sldId="2147469549"/>
            <ac:spMk id="7" creationId="{12B7E2A7-8F9A-4AC4-A44B-F3AD5E12C827}"/>
          </ac:spMkLst>
        </pc:spChg>
        <pc:spChg chg="mod">
          <ac:chgData name="Vervloet, Toni" userId="f28533a5-53b3-4f10-93bf-dd331599556d" providerId="ADAL" clId="{84E3FAE0-22FB-47C1-84BB-1964970A2D07}" dt="2023-05-10T13:26:27.916" v="5733" actId="27636"/>
          <ac:spMkLst>
            <pc:docMk/>
            <pc:sldMk cId="3580978443" sldId="2147469549"/>
            <ac:spMk id="8" creationId="{0315F19B-DA0F-4BE3-AD29-99CC1DEFB9B3}"/>
          </ac:spMkLst>
        </pc:spChg>
        <pc:spChg chg="add del mod">
          <ac:chgData name="Vervloet, Toni" userId="f28533a5-53b3-4f10-93bf-dd331599556d" providerId="ADAL" clId="{84E3FAE0-22FB-47C1-84BB-1964970A2D07}" dt="2023-05-04T08:14:15.232" v="1800" actId="478"/>
          <ac:spMkLst>
            <pc:docMk/>
            <pc:sldMk cId="3580978443" sldId="2147469549"/>
            <ac:spMk id="9" creationId="{22A52068-F6FE-FFBD-D980-BDD8011EB04F}"/>
          </ac:spMkLst>
        </pc:spChg>
      </pc:sldChg>
      <pc:sldChg chg="ord">
        <pc:chgData name="Vervloet, Toni" userId="f28533a5-53b3-4f10-93bf-dd331599556d" providerId="ADAL" clId="{84E3FAE0-22FB-47C1-84BB-1964970A2D07}" dt="2023-05-10T13:32:03.498" v="5787"/>
        <pc:sldMkLst>
          <pc:docMk/>
          <pc:sldMk cId="3917335309" sldId="2147469704"/>
        </pc:sldMkLst>
      </pc:sldChg>
      <pc:sldChg chg="modSp mod">
        <pc:chgData name="Vervloet, Toni" userId="f28533a5-53b3-4f10-93bf-dd331599556d" providerId="ADAL" clId="{84E3FAE0-22FB-47C1-84BB-1964970A2D07}" dt="2023-05-10T13:26:27.859" v="5731"/>
        <pc:sldMkLst>
          <pc:docMk/>
          <pc:sldMk cId="122054948" sldId="2147469705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22054948" sldId="2147469705"/>
            <ac:spMk id="2" creationId="{1512FD47-EDA3-EF7C-B463-BF0E3FF6AA9E}"/>
          </ac:spMkLst>
        </pc:spChg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22054948" sldId="2147469705"/>
            <ac:spMk id="3" creationId="{20614AF1-6E13-3505-F412-EB56413A5D6D}"/>
          </ac:spMkLst>
        </pc:spChg>
      </pc:sldChg>
      <pc:sldChg chg="addSp modSp mod ord">
        <pc:chgData name="Vervloet, Toni" userId="f28533a5-53b3-4f10-93bf-dd331599556d" providerId="ADAL" clId="{84E3FAE0-22FB-47C1-84BB-1964970A2D07}" dt="2023-05-10T13:33:23.492" v="5792" actId="1440"/>
        <pc:sldMkLst>
          <pc:docMk/>
          <pc:sldMk cId="1222490168" sldId="2147469706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222490168" sldId="2147469706"/>
            <ac:spMk id="2" creationId="{E5A89895-2646-1210-8E50-5B8906DB3CF1}"/>
          </ac:spMkLst>
        </pc:spChg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222490168" sldId="2147469706"/>
            <ac:spMk id="3" creationId="{5D4774FD-0289-7B9A-4B92-1FC6BD23DFA1}"/>
          </ac:spMkLst>
        </pc:spChg>
        <pc:picChg chg="add mod">
          <ac:chgData name="Vervloet, Toni" userId="f28533a5-53b3-4f10-93bf-dd331599556d" providerId="ADAL" clId="{84E3FAE0-22FB-47C1-84BB-1964970A2D07}" dt="2023-05-10T13:33:23.492" v="5792" actId="1440"/>
          <ac:picMkLst>
            <pc:docMk/>
            <pc:sldMk cId="1222490168" sldId="2147469706"/>
            <ac:picMk id="5" creationId="{AC1A1228-F2D4-35C3-B1BD-EEAD09EFF86F}"/>
          </ac:picMkLst>
        </pc:picChg>
      </pc:sldChg>
      <pc:sldChg chg="modSp mod">
        <pc:chgData name="Vervloet, Toni" userId="f28533a5-53b3-4f10-93bf-dd331599556d" providerId="ADAL" clId="{84E3FAE0-22FB-47C1-84BB-1964970A2D07}" dt="2023-05-10T13:33:40.045" v="5793" actId="1440"/>
        <pc:sldMkLst>
          <pc:docMk/>
          <pc:sldMk cId="1036238686" sldId="2147469707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036238686" sldId="2147469707"/>
            <ac:spMk id="2" creationId="{2ACF22AC-1F4D-5F26-CA7B-0189323F7696}"/>
          </ac:spMkLst>
        </pc:spChg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036238686" sldId="2147469707"/>
            <ac:spMk id="3" creationId="{AD9F4DA4-C22E-14F5-5852-B7DD02D8034C}"/>
          </ac:spMkLst>
        </pc:spChg>
        <pc:picChg chg="mod">
          <ac:chgData name="Vervloet, Toni" userId="f28533a5-53b3-4f10-93bf-dd331599556d" providerId="ADAL" clId="{84E3FAE0-22FB-47C1-84BB-1964970A2D07}" dt="2023-05-10T13:33:40.045" v="5793" actId="1440"/>
          <ac:picMkLst>
            <pc:docMk/>
            <pc:sldMk cId="1036238686" sldId="2147469707"/>
            <ac:picMk id="4" creationId="{5D3B2040-0340-93E8-1CFE-CE1444B32AC6}"/>
          </ac:picMkLst>
        </pc:picChg>
      </pc:sldChg>
      <pc:sldChg chg="addSp delSp modSp mod modAnim modNotesTx">
        <pc:chgData name="Vervloet, Toni" userId="f28533a5-53b3-4f10-93bf-dd331599556d" providerId="ADAL" clId="{84E3FAE0-22FB-47C1-84BB-1964970A2D07}" dt="2023-05-10T13:41:54.443" v="5851" actId="14100"/>
        <pc:sldMkLst>
          <pc:docMk/>
          <pc:sldMk cId="2092685173" sldId="2147469710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2092685173" sldId="2147469710"/>
            <ac:spMk id="2" creationId="{7FB77D41-2FC5-7586-A518-0CF627A1C7CB}"/>
          </ac:spMkLst>
        </pc:spChg>
        <pc:spChg chg="del mod">
          <ac:chgData name="Vervloet, Toni" userId="f28533a5-53b3-4f10-93bf-dd331599556d" providerId="ADAL" clId="{84E3FAE0-22FB-47C1-84BB-1964970A2D07}" dt="2023-05-10T13:39:57.005" v="5833" actId="478"/>
          <ac:spMkLst>
            <pc:docMk/>
            <pc:sldMk cId="2092685173" sldId="2147469710"/>
            <ac:spMk id="3" creationId="{D5AED1A8-2E1B-611C-4A8D-454414AEA194}"/>
          </ac:spMkLst>
        </pc:spChg>
        <pc:graphicFrameChg chg="add mod modGraphic">
          <ac:chgData name="Vervloet, Toni" userId="f28533a5-53b3-4f10-93bf-dd331599556d" providerId="ADAL" clId="{84E3FAE0-22FB-47C1-84BB-1964970A2D07}" dt="2023-05-10T13:41:54.443" v="5851" actId="14100"/>
          <ac:graphicFrameMkLst>
            <pc:docMk/>
            <pc:sldMk cId="2092685173" sldId="2147469710"/>
            <ac:graphicFrameMk id="4" creationId="{0D471D94-06E8-C5D6-4338-7A5619AA5421}"/>
          </ac:graphicFrameMkLst>
        </pc:graphicFrameChg>
      </pc:sldChg>
      <pc:sldChg chg="modSp del">
        <pc:chgData name="Vervloet, Toni" userId="f28533a5-53b3-4f10-93bf-dd331599556d" providerId="ADAL" clId="{84E3FAE0-22FB-47C1-84BB-1964970A2D07}" dt="2023-05-10T13:36:52.532" v="5815" actId="47"/>
        <pc:sldMkLst>
          <pc:docMk/>
          <pc:sldMk cId="3688567070" sldId="2147469711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3688567070" sldId="2147469711"/>
            <ac:spMk id="2" creationId="{2ACF22AC-1F4D-5F26-CA7B-0189323F7696}"/>
          </ac:spMkLst>
        </pc:spChg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3688567070" sldId="2147469711"/>
            <ac:spMk id="3" creationId="{AD9F4DA4-C22E-14F5-5852-B7DD02D8034C}"/>
          </ac:spMkLst>
        </pc:spChg>
      </pc:sldChg>
      <pc:sldChg chg="addSp delSp modSp del mod">
        <pc:chgData name="Vervloet, Toni" userId="f28533a5-53b3-4f10-93bf-dd331599556d" providerId="ADAL" clId="{84E3FAE0-22FB-47C1-84BB-1964970A2D07}" dt="2023-05-10T13:28:39.587" v="5744" actId="47"/>
        <pc:sldMkLst>
          <pc:docMk/>
          <pc:sldMk cId="3283253043" sldId="2147469715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3283253043" sldId="2147469715"/>
            <ac:spMk id="2" creationId="{B7BE8FA3-BBF0-447A-ECAE-5487A4F683B7}"/>
          </ac:spMkLst>
        </pc:spChg>
        <pc:spChg chg="del mod">
          <ac:chgData name="Vervloet, Toni" userId="f28533a5-53b3-4f10-93bf-dd331599556d" providerId="ADAL" clId="{84E3FAE0-22FB-47C1-84BB-1964970A2D07}" dt="2023-05-10T13:27:01.923" v="5734" actId="931"/>
          <ac:spMkLst>
            <pc:docMk/>
            <pc:sldMk cId="3283253043" sldId="2147469715"/>
            <ac:spMk id="3" creationId="{EB41C3E7-1689-15F6-CB6D-CAAEF8EF9D61}"/>
          </ac:spMkLst>
        </pc:spChg>
        <pc:spChg chg="add mod">
          <ac:chgData name="Vervloet, Toni" userId="f28533a5-53b3-4f10-93bf-dd331599556d" providerId="ADAL" clId="{84E3FAE0-22FB-47C1-84BB-1964970A2D07}" dt="2023-05-10T13:27:26.433" v="5742" actId="478"/>
          <ac:spMkLst>
            <pc:docMk/>
            <pc:sldMk cId="3283253043" sldId="2147469715"/>
            <ac:spMk id="7" creationId="{E329E9CF-4065-4C6B-7C9A-488D11655865}"/>
          </ac:spMkLst>
        </pc:spChg>
        <pc:picChg chg="add del mod">
          <ac:chgData name="Vervloet, Toni" userId="f28533a5-53b3-4f10-93bf-dd331599556d" providerId="ADAL" clId="{84E3FAE0-22FB-47C1-84BB-1964970A2D07}" dt="2023-05-10T13:27:26.433" v="5742" actId="478"/>
          <ac:picMkLst>
            <pc:docMk/>
            <pc:sldMk cId="3283253043" sldId="2147469715"/>
            <ac:picMk id="5" creationId="{C8CAFF13-53D9-65E1-5AE1-31D3E43627A4}"/>
          </ac:picMkLst>
        </pc:picChg>
      </pc:sldChg>
      <pc:sldChg chg="addSp delSp modSp del mod setBg modClrScheme addAnim delDesignElem chgLayout">
        <pc:chgData name="Vervloet, Toni" userId="f28533a5-53b3-4f10-93bf-dd331599556d" providerId="ADAL" clId="{84E3FAE0-22FB-47C1-84BB-1964970A2D07}" dt="2023-05-10T13:31:03.627" v="5782" actId="47"/>
        <pc:sldMkLst>
          <pc:docMk/>
          <pc:sldMk cId="117660715" sldId="2147469716"/>
        </pc:sldMkLst>
        <pc:spChg chg="mod ord">
          <ac:chgData name="Vervloet, Toni" userId="f28533a5-53b3-4f10-93bf-dd331599556d" providerId="ADAL" clId="{84E3FAE0-22FB-47C1-84BB-1964970A2D07}" dt="2023-05-10T13:26:27.898" v="5732" actId="27636"/>
          <ac:spMkLst>
            <pc:docMk/>
            <pc:sldMk cId="117660715" sldId="2147469716"/>
            <ac:spMk id="2" creationId="{44235DE9-CC03-FCA2-9C53-BBFD66EF74E3}"/>
          </ac:spMkLst>
        </pc:spChg>
        <pc:spChg chg="del mod ord">
          <ac:chgData name="Vervloet, Toni" userId="f28533a5-53b3-4f10-93bf-dd331599556d" providerId="ADAL" clId="{84E3FAE0-22FB-47C1-84BB-1964970A2D07}" dt="2023-05-10T11:10:28.678" v="3156" actId="700"/>
          <ac:spMkLst>
            <pc:docMk/>
            <pc:sldMk cId="117660715" sldId="2147469716"/>
            <ac:spMk id="3" creationId="{9B413A8F-E6BD-D712-9933-CC0C382D5DE4}"/>
          </ac:spMkLst>
        </pc:spChg>
        <pc:spChg chg="add mod ord">
          <ac:chgData name="Vervloet, Toni" userId="f28533a5-53b3-4f10-93bf-dd331599556d" providerId="ADAL" clId="{84E3FAE0-22FB-47C1-84BB-1964970A2D07}" dt="2023-05-10T11:30:54.979" v="3493" actId="114"/>
          <ac:spMkLst>
            <pc:docMk/>
            <pc:sldMk cId="117660715" sldId="2147469716"/>
            <ac:spMk id="4" creationId="{F3703361-E910-E8E5-5A2C-A437B119DEE7}"/>
          </ac:spMkLst>
        </pc:spChg>
        <pc:spChg chg="add del">
          <ac:chgData name="Vervloet, Toni" userId="f28533a5-53b3-4f10-93bf-dd331599556d" providerId="ADAL" clId="{84E3FAE0-22FB-47C1-84BB-1964970A2D07}" dt="2023-05-10T13:26:27.859" v="5731"/>
          <ac:spMkLst>
            <pc:docMk/>
            <pc:sldMk cId="117660715" sldId="2147469716"/>
            <ac:spMk id="11" creationId="{A3363022-C969-41E9-8EB2-E4C94908C1FA}"/>
          </ac:spMkLst>
        </pc:spChg>
        <pc:spChg chg="add del">
          <ac:chgData name="Vervloet, Toni" userId="f28533a5-53b3-4f10-93bf-dd331599556d" providerId="ADAL" clId="{84E3FAE0-22FB-47C1-84BB-1964970A2D07}" dt="2023-05-10T13:26:27.859" v="5731"/>
          <ac:spMkLst>
            <pc:docMk/>
            <pc:sldMk cId="117660715" sldId="2147469716"/>
            <ac:spMk id="13" creationId="{8D1AD6B3-BE88-4CEB-BA17-790657CC4729}"/>
          </ac:spMkLst>
        </pc:spChg>
        <pc:grpChg chg="add del">
          <ac:chgData name="Vervloet, Toni" userId="f28533a5-53b3-4f10-93bf-dd331599556d" providerId="ADAL" clId="{84E3FAE0-22FB-47C1-84BB-1964970A2D07}" dt="2023-05-10T13:26:27.859" v="5731"/>
          <ac:grpSpMkLst>
            <pc:docMk/>
            <pc:sldMk cId="117660715" sldId="2147469716"/>
            <ac:grpSpMk id="15" creationId="{89D1390B-7E13-4B4F-9CB2-391063412E54}"/>
          </ac:grpSpMkLst>
        </pc:grpChg>
        <pc:picChg chg="add">
          <ac:chgData name="Vervloet, Toni" userId="f28533a5-53b3-4f10-93bf-dd331599556d" providerId="ADAL" clId="{84E3FAE0-22FB-47C1-84BB-1964970A2D07}" dt="2023-05-10T11:10:36.980" v="3157" actId="26606"/>
          <ac:picMkLst>
            <pc:docMk/>
            <pc:sldMk cId="117660715" sldId="2147469716"/>
            <ac:picMk id="8" creationId="{2DD0A71C-D2AD-67A7-FE0F-E29BF2F67F7A}"/>
          </ac:picMkLst>
        </pc:picChg>
      </pc:sldChg>
      <pc:sldChg chg="addSp modSp new mod modNotesTx">
        <pc:chgData name="Vervloet, Toni" userId="f28533a5-53b3-4f10-93bf-dd331599556d" providerId="ADAL" clId="{84E3FAE0-22FB-47C1-84BB-1964970A2D07}" dt="2023-05-10T13:40:07.940" v="5834" actId="1076"/>
        <pc:sldMkLst>
          <pc:docMk/>
          <pc:sldMk cId="445985952" sldId="2147469717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445985952" sldId="2147469717"/>
            <ac:spMk id="2" creationId="{88BE0695-C735-8373-AF1C-5AAE68D949A3}"/>
          </ac:spMkLst>
        </pc:spChg>
        <pc:spChg chg="mod ord">
          <ac:chgData name="Vervloet, Toni" userId="f28533a5-53b3-4f10-93bf-dd331599556d" providerId="ADAL" clId="{84E3FAE0-22FB-47C1-84BB-1964970A2D07}" dt="2023-05-10T13:37:48.068" v="5819" actId="21"/>
          <ac:spMkLst>
            <pc:docMk/>
            <pc:sldMk cId="445985952" sldId="2147469717"/>
            <ac:spMk id="3" creationId="{19E980C6-1C93-D33F-8521-E098EBA63EB8}"/>
          </ac:spMkLst>
        </pc:spChg>
        <pc:graphicFrameChg chg="add mod modGraphic">
          <ac:chgData name="Vervloet, Toni" userId="f28533a5-53b3-4f10-93bf-dd331599556d" providerId="ADAL" clId="{84E3FAE0-22FB-47C1-84BB-1964970A2D07}" dt="2023-05-10T13:40:07.940" v="5834" actId="1076"/>
          <ac:graphicFrameMkLst>
            <pc:docMk/>
            <pc:sldMk cId="445985952" sldId="2147469717"/>
            <ac:graphicFrameMk id="6" creationId="{99A218E3-AD69-10F0-74A9-E22A05F2DD13}"/>
          </ac:graphicFrameMkLst>
        </pc:graphicFrameChg>
        <pc:picChg chg="add mod ord modCrop">
          <ac:chgData name="Vervloet, Toni" userId="f28533a5-53b3-4f10-93bf-dd331599556d" providerId="ADAL" clId="{84E3FAE0-22FB-47C1-84BB-1964970A2D07}" dt="2023-05-10T13:06:14.610" v="5580" actId="732"/>
          <ac:picMkLst>
            <pc:docMk/>
            <pc:sldMk cId="445985952" sldId="2147469717"/>
            <ac:picMk id="5" creationId="{A3094DE1-24CE-8131-2D8F-F52D5060EB23}"/>
          </ac:picMkLst>
        </pc:picChg>
      </pc:sldChg>
      <pc:sldChg chg="modSp new del mod">
        <pc:chgData name="Vervloet, Toni" userId="f28533a5-53b3-4f10-93bf-dd331599556d" providerId="ADAL" clId="{84E3FAE0-22FB-47C1-84BB-1964970A2D07}" dt="2023-05-04T07:27:05.335" v="816" actId="47"/>
        <pc:sldMkLst>
          <pc:docMk/>
          <pc:sldMk cId="3434278908" sldId="2147469717"/>
        </pc:sldMkLst>
        <pc:spChg chg="mod">
          <ac:chgData name="Vervloet, Toni" userId="f28533a5-53b3-4f10-93bf-dd331599556d" providerId="ADAL" clId="{84E3FAE0-22FB-47C1-84BB-1964970A2D07}" dt="2023-05-04T07:25:25.315" v="815" actId="20577"/>
          <ac:spMkLst>
            <pc:docMk/>
            <pc:sldMk cId="3434278908" sldId="2147469717"/>
            <ac:spMk id="2" creationId="{520B1A5C-8274-2569-6D8D-5EFB4BAD1E11}"/>
          </ac:spMkLst>
        </pc:spChg>
      </pc:sldChg>
      <pc:sldChg chg="addSp delSp modSp new mod modClrScheme chgLayout">
        <pc:chgData name="Vervloet, Toni" userId="f28533a5-53b3-4f10-93bf-dd331599556d" providerId="ADAL" clId="{84E3FAE0-22FB-47C1-84BB-1964970A2D07}" dt="2023-05-10T13:30:57.656" v="5781" actId="20577"/>
        <pc:sldMkLst>
          <pc:docMk/>
          <pc:sldMk cId="1301564698" sldId="2147469718"/>
        </pc:sldMkLst>
        <pc:spChg chg="del mod ord">
          <ac:chgData name="Vervloet, Toni" userId="f28533a5-53b3-4f10-93bf-dd331599556d" providerId="ADAL" clId="{84E3FAE0-22FB-47C1-84BB-1964970A2D07}" dt="2023-05-04T07:39:02.882" v="1086" actId="700"/>
          <ac:spMkLst>
            <pc:docMk/>
            <pc:sldMk cId="1301564698" sldId="2147469718"/>
            <ac:spMk id="2" creationId="{2D72C22A-18EE-DE87-4E19-D5FA5FD118A6}"/>
          </ac:spMkLst>
        </pc:spChg>
        <pc:spChg chg="del mod ord">
          <ac:chgData name="Vervloet, Toni" userId="f28533a5-53b3-4f10-93bf-dd331599556d" providerId="ADAL" clId="{84E3FAE0-22FB-47C1-84BB-1964970A2D07}" dt="2023-05-04T07:39:02.882" v="1086" actId="700"/>
          <ac:spMkLst>
            <pc:docMk/>
            <pc:sldMk cId="1301564698" sldId="2147469718"/>
            <ac:spMk id="3" creationId="{A7874C93-F1D3-A631-CDE0-514CC8C4524C}"/>
          </ac:spMkLst>
        </pc:spChg>
        <pc:spChg chg="del">
          <ac:chgData name="Vervloet, Toni" userId="f28533a5-53b3-4f10-93bf-dd331599556d" providerId="ADAL" clId="{84E3FAE0-22FB-47C1-84BB-1964970A2D07}" dt="2023-05-04T07:39:02.882" v="1086" actId="700"/>
          <ac:spMkLst>
            <pc:docMk/>
            <pc:sldMk cId="1301564698" sldId="2147469718"/>
            <ac:spMk id="4" creationId="{D9B36E46-E2C8-8E01-2A2D-B70747604517}"/>
          </ac:spMkLst>
        </pc:spChg>
        <pc:spChg chg="add mod ord">
          <ac:chgData name="Vervloet, Toni" userId="f28533a5-53b3-4f10-93bf-dd331599556d" providerId="ADAL" clId="{84E3FAE0-22FB-47C1-84BB-1964970A2D07}" dt="2023-05-10T13:30:57.656" v="5781" actId="20577"/>
          <ac:spMkLst>
            <pc:docMk/>
            <pc:sldMk cId="1301564698" sldId="2147469718"/>
            <ac:spMk id="5" creationId="{D3AA741D-95BA-0BE9-811D-DAA9EF262A23}"/>
          </ac:spMkLst>
        </pc:spChg>
        <pc:spChg chg="add mod ord">
          <ac:chgData name="Vervloet, Toni" userId="f28533a5-53b3-4f10-93bf-dd331599556d" providerId="ADAL" clId="{84E3FAE0-22FB-47C1-84BB-1964970A2D07}" dt="2023-05-10T11:30:17.621" v="3469" actId="1076"/>
          <ac:spMkLst>
            <pc:docMk/>
            <pc:sldMk cId="1301564698" sldId="2147469718"/>
            <ac:spMk id="6" creationId="{C8C99135-7583-2EC8-A6D0-3A2524BB7F87}"/>
          </ac:spMkLst>
        </pc:spChg>
        <pc:picChg chg="mod">
          <ac:chgData name="Vervloet, Toni" userId="f28533a5-53b3-4f10-93bf-dd331599556d" providerId="ADAL" clId="{84E3FAE0-22FB-47C1-84BB-1964970A2D07}" dt="2023-05-10T11:24:24.913" v="3260" actId="14100"/>
          <ac:picMkLst>
            <pc:docMk/>
            <pc:sldMk cId="1301564698" sldId="2147469718"/>
            <ac:picMk id="3" creationId="{6AEB16DA-747D-F49D-C87A-698EB9692E49}"/>
          </ac:picMkLst>
        </pc:picChg>
      </pc:sldChg>
      <pc:sldChg chg="addSp delSp modSp new mod modTransition modNotesTx">
        <pc:chgData name="Vervloet, Toni" userId="f28533a5-53b3-4f10-93bf-dd331599556d" providerId="ADAL" clId="{84E3FAE0-22FB-47C1-84BB-1964970A2D07}" dt="2023-05-10T12:17:12.488" v="4453" actId="6549"/>
        <pc:sldMkLst>
          <pc:docMk/>
          <pc:sldMk cId="2800368159" sldId="2147469719"/>
        </pc:sldMkLst>
        <pc:spChg chg="mod">
          <ac:chgData name="Vervloet, Toni" userId="f28533a5-53b3-4f10-93bf-dd331599556d" providerId="ADAL" clId="{84E3FAE0-22FB-47C1-84BB-1964970A2D07}" dt="2023-05-10T12:17:12.488" v="4453" actId="6549"/>
          <ac:spMkLst>
            <pc:docMk/>
            <pc:sldMk cId="2800368159" sldId="2147469719"/>
            <ac:spMk id="3" creationId="{B0BDE5F6-4FBF-94C5-219D-BDBBCF051956}"/>
          </ac:spMkLst>
        </pc:spChg>
        <pc:spChg chg="mod">
          <ac:chgData name="Vervloet, Toni" userId="f28533a5-53b3-4f10-93bf-dd331599556d" providerId="ADAL" clId="{84E3FAE0-22FB-47C1-84BB-1964970A2D07}" dt="2023-05-04T07:42:44.943" v="1385" actId="20577"/>
          <ac:spMkLst>
            <pc:docMk/>
            <pc:sldMk cId="2800368159" sldId="2147469719"/>
            <ac:spMk id="4" creationId="{E974EAF7-5167-B2D4-E0D3-3BE28586940B}"/>
          </ac:spMkLst>
        </pc:spChg>
        <pc:spChg chg="del">
          <ac:chgData name="Vervloet, Toni" userId="f28533a5-53b3-4f10-93bf-dd331599556d" providerId="ADAL" clId="{84E3FAE0-22FB-47C1-84BB-1964970A2D07}" dt="2023-05-04T08:07:31.457" v="1737" actId="478"/>
          <ac:spMkLst>
            <pc:docMk/>
            <pc:sldMk cId="2800368159" sldId="2147469719"/>
            <ac:spMk id="5" creationId="{8B5F4CDE-5B8B-CA4B-C1AD-5C3295ECB745}"/>
          </ac:spMkLst>
        </pc:spChg>
        <pc:spChg chg="add del mod">
          <ac:chgData name="Vervloet, Toni" userId="f28533a5-53b3-4f10-93bf-dd331599556d" providerId="ADAL" clId="{84E3FAE0-22FB-47C1-84BB-1964970A2D07}" dt="2023-05-10T11:33:08.547" v="3645"/>
          <ac:spMkLst>
            <pc:docMk/>
            <pc:sldMk cId="2800368159" sldId="2147469719"/>
            <ac:spMk id="5" creationId="{AF667B2F-8A8A-21B7-BCBC-CAB7BEC6956A}"/>
          </ac:spMkLst>
        </pc:spChg>
        <pc:spChg chg="add del mod">
          <ac:chgData name="Vervloet, Toni" userId="f28533a5-53b3-4f10-93bf-dd331599556d" providerId="ADAL" clId="{84E3FAE0-22FB-47C1-84BB-1964970A2D07}" dt="2023-05-10T11:33:30.362" v="3649" actId="478"/>
          <ac:spMkLst>
            <pc:docMk/>
            <pc:sldMk cId="2800368159" sldId="2147469719"/>
            <ac:spMk id="6" creationId="{8A7101CD-4348-F3AF-BFD6-5940E0A873FB}"/>
          </ac:spMkLst>
        </pc:spChg>
        <pc:spChg chg="add del">
          <ac:chgData name="Vervloet, Toni" userId="f28533a5-53b3-4f10-93bf-dd331599556d" providerId="ADAL" clId="{84E3FAE0-22FB-47C1-84BB-1964970A2D07}" dt="2023-05-04T08:08:37.680" v="1739" actId="478"/>
          <ac:spMkLst>
            <pc:docMk/>
            <pc:sldMk cId="2800368159" sldId="2147469719"/>
            <ac:spMk id="6" creationId="{D8966389-B3C2-D61C-0E17-FA6AE7E3755A}"/>
          </ac:spMkLst>
        </pc:spChg>
        <pc:spChg chg="add del mod">
          <ac:chgData name="Vervloet, Toni" userId="f28533a5-53b3-4f10-93bf-dd331599556d" providerId="ADAL" clId="{84E3FAE0-22FB-47C1-84BB-1964970A2D07}" dt="2023-05-10T11:33:32.351" v="3650" actId="478"/>
          <ac:spMkLst>
            <pc:docMk/>
            <pc:sldMk cId="2800368159" sldId="2147469719"/>
            <ac:spMk id="7" creationId="{13730166-2FE5-4051-7031-8BDAF479FCFA}"/>
          </ac:spMkLst>
        </pc:spChg>
        <pc:spChg chg="add del mod">
          <ac:chgData name="Vervloet, Toni" userId="f28533a5-53b3-4f10-93bf-dd331599556d" providerId="ADAL" clId="{84E3FAE0-22FB-47C1-84BB-1964970A2D07}" dt="2023-05-10T11:33:35.752" v="3651" actId="478"/>
          <ac:spMkLst>
            <pc:docMk/>
            <pc:sldMk cId="2800368159" sldId="2147469719"/>
            <ac:spMk id="9" creationId="{3CC7E97D-2ADA-43E5-1BE1-85B6A959F527}"/>
          </ac:spMkLst>
        </pc:spChg>
        <pc:picChg chg="add mod">
          <ac:chgData name="Vervloet, Toni" userId="f28533a5-53b3-4f10-93bf-dd331599556d" providerId="ADAL" clId="{84E3FAE0-22FB-47C1-84BB-1964970A2D07}" dt="2023-05-10T11:33:46.169" v="3654" actId="1076"/>
          <ac:picMkLst>
            <pc:docMk/>
            <pc:sldMk cId="2800368159" sldId="2147469719"/>
            <ac:picMk id="8" creationId="{06C315CF-DAC4-AE6D-BBD7-FBD040826A36}"/>
          </ac:picMkLst>
        </pc:picChg>
        <pc:picChg chg="add del mod">
          <ac:chgData name="Vervloet, Toni" userId="f28533a5-53b3-4f10-93bf-dd331599556d" providerId="ADAL" clId="{84E3FAE0-22FB-47C1-84BB-1964970A2D07}" dt="2023-05-10T11:34:43.416" v="3657" actId="478"/>
          <ac:picMkLst>
            <pc:docMk/>
            <pc:sldMk cId="2800368159" sldId="2147469719"/>
            <ac:picMk id="10" creationId="{91D0F12E-0C1A-1B38-CD44-228DA9FDF1F0}"/>
          </ac:picMkLst>
        </pc:picChg>
        <pc:picChg chg="add mod">
          <ac:chgData name="Vervloet, Toni" userId="f28533a5-53b3-4f10-93bf-dd331599556d" providerId="ADAL" clId="{84E3FAE0-22FB-47C1-84BB-1964970A2D07}" dt="2023-05-10T11:35:00.425" v="3661" actId="14100"/>
          <ac:picMkLst>
            <pc:docMk/>
            <pc:sldMk cId="2800368159" sldId="2147469719"/>
            <ac:picMk id="11" creationId="{28699699-4450-6227-855A-FB41027C0D90}"/>
          </ac:picMkLst>
        </pc:picChg>
      </pc:sldChg>
      <pc:sldChg chg="modSp mod ord modNotesTx">
        <pc:chgData name="Vervloet, Toni" userId="f28533a5-53b3-4f10-93bf-dd331599556d" providerId="ADAL" clId="{84E3FAE0-22FB-47C1-84BB-1964970A2D07}" dt="2023-05-10T13:26:27.859" v="5731"/>
        <pc:sldMkLst>
          <pc:docMk/>
          <pc:sldMk cId="1955021214" sldId="2147469720"/>
        </pc:sldMkLst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955021214" sldId="2147469720"/>
            <ac:spMk id="2" creationId="{0696D550-AA1E-19CB-F8FC-4550598E91F5}"/>
          </ac:spMkLst>
        </pc:spChg>
        <pc:spChg chg="mod">
          <ac:chgData name="Vervloet, Toni" userId="f28533a5-53b3-4f10-93bf-dd331599556d" providerId="ADAL" clId="{84E3FAE0-22FB-47C1-84BB-1964970A2D07}" dt="2023-05-10T13:26:27.859" v="5731"/>
          <ac:spMkLst>
            <pc:docMk/>
            <pc:sldMk cId="1955021214" sldId="2147469720"/>
            <ac:spMk id="3" creationId="{D7F7C231-56A6-D294-54B1-C61690C8C16C}"/>
          </ac:spMkLst>
        </pc:spChg>
      </pc:sldChg>
      <pc:sldChg chg="addSp delSp modSp new mod modClrScheme modAnim chgLayout">
        <pc:chgData name="Vervloet, Toni" userId="f28533a5-53b3-4f10-93bf-dd331599556d" providerId="ADAL" clId="{84E3FAE0-22FB-47C1-84BB-1964970A2D07}" dt="2023-05-10T13:33:02.828" v="5791"/>
        <pc:sldMkLst>
          <pc:docMk/>
          <pc:sldMk cId="2878625570" sldId="2147469721"/>
        </pc:sldMkLst>
        <pc:spChg chg="mod ord">
          <ac:chgData name="Vervloet, Toni" userId="f28533a5-53b3-4f10-93bf-dd331599556d" providerId="ADAL" clId="{84E3FAE0-22FB-47C1-84BB-1964970A2D07}" dt="2023-05-10T12:22:28.635" v="4472" actId="700"/>
          <ac:spMkLst>
            <pc:docMk/>
            <pc:sldMk cId="2878625570" sldId="2147469721"/>
            <ac:spMk id="2" creationId="{D613F1A6-CA5C-7F11-E14B-9E6DC99BBC16}"/>
          </ac:spMkLst>
        </pc:spChg>
        <pc:spChg chg="mod ord">
          <ac:chgData name="Vervloet, Toni" userId="f28533a5-53b3-4f10-93bf-dd331599556d" providerId="ADAL" clId="{84E3FAE0-22FB-47C1-84BB-1964970A2D07}" dt="2023-05-10T12:23:55.016" v="4518" actId="27636"/>
          <ac:spMkLst>
            <pc:docMk/>
            <pc:sldMk cId="2878625570" sldId="2147469721"/>
            <ac:spMk id="3" creationId="{0EA61B43-77F0-1787-47CC-3566AF2DA56C}"/>
          </ac:spMkLst>
        </pc:spChg>
        <pc:spChg chg="add del mod ord">
          <ac:chgData name="Vervloet, Toni" userId="f28533a5-53b3-4f10-93bf-dd331599556d" providerId="ADAL" clId="{84E3FAE0-22FB-47C1-84BB-1964970A2D07}" dt="2023-05-10T12:23:22.222" v="4479" actId="478"/>
          <ac:spMkLst>
            <pc:docMk/>
            <pc:sldMk cId="2878625570" sldId="2147469721"/>
            <ac:spMk id="4" creationId="{4203F9C0-465D-3844-47C3-88FFBE437F2F}"/>
          </ac:spMkLst>
        </pc:spChg>
        <pc:spChg chg="add del mod ord">
          <ac:chgData name="Vervloet, Toni" userId="f28533a5-53b3-4f10-93bf-dd331599556d" providerId="ADAL" clId="{84E3FAE0-22FB-47C1-84BB-1964970A2D07}" dt="2023-05-10T12:22:57.283" v="4473" actId="931"/>
          <ac:spMkLst>
            <pc:docMk/>
            <pc:sldMk cId="2878625570" sldId="2147469721"/>
            <ac:spMk id="6" creationId="{00AE36CD-BB23-3368-80D2-54E719BF00D4}"/>
          </ac:spMkLst>
        </pc:spChg>
        <pc:picChg chg="add mod modCrop">
          <ac:chgData name="Vervloet, Toni" userId="f28533a5-53b3-4f10-93bf-dd331599556d" providerId="ADAL" clId="{84E3FAE0-22FB-47C1-84BB-1964970A2D07}" dt="2023-05-04T08:37:12.670" v="2606" actId="732"/>
          <ac:picMkLst>
            <pc:docMk/>
            <pc:sldMk cId="2878625570" sldId="2147469721"/>
            <ac:picMk id="5" creationId="{CE2B8247-1B65-C7EE-9378-FBFFEC886357}"/>
          </ac:picMkLst>
        </pc:picChg>
        <pc:picChg chg="add mod">
          <ac:chgData name="Vervloet, Toni" userId="f28533a5-53b3-4f10-93bf-dd331599556d" providerId="ADAL" clId="{84E3FAE0-22FB-47C1-84BB-1964970A2D07}" dt="2023-05-10T12:24:02.437" v="4520" actId="1036"/>
          <ac:picMkLst>
            <pc:docMk/>
            <pc:sldMk cId="2878625570" sldId="2147469721"/>
            <ac:picMk id="8" creationId="{5C632756-4D6B-14FA-FAFD-0918243679C6}"/>
          </ac:picMkLst>
        </pc:picChg>
      </pc:sldChg>
      <pc:sldChg chg="ord">
        <pc:chgData name="Vervloet, Toni" userId="f28533a5-53b3-4f10-93bf-dd331599556d" providerId="ADAL" clId="{84E3FAE0-22FB-47C1-84BB-1964970A2D07}" dt="2023-05-10T13:32:03.498" v="5787"/>
        <pc:sldMkLst>
          <pc:docMk/>
          <pc:sldMk cId="572578815" sldId="2147469723"/>
        </pc:sldMkLst>
      </pc:sldChg>
      <pc:sldChg chg="addSp delSp modSp mod modTransition modClrScheme chgLayout modNotesTx">
        <pc:chgData name="Vervloet, Toni" userId="f28533a5-53b3-4f10-93bf-dd331599556d" providerId="ADAL" clId="{84E3FAE0-22FB-47C1-84BB-1964970A2D07}" dt="2023-05-10T13:31:44.435" v="5785" actId="1076"/>
        <pc:sldMkLst>
          <pc:docMk/>
          <pc:sldMk cId="3486044391" sldId="2147469731"/>
        </pc:sldMkLst>
        <pc:spChg chg="mod ord">
          <ac:chgData name="Vervloet, Toni" userId="f28533a5-53b3-4f10-93bf-dd331599556d" providerId="ADAL" clId="{84E3FAE0-22FB-47C1-84BB-1964970A2D07}" dt="2023-05-10T13:31:34.808" v="5783" actId="700"/>
          <ac:spMkLst>
            <pc:docMk/>
            <pc:sldMk cId="3486044391" sldId="2147469731"/>
            <ac:spMk id="3" creationId="{F3A6EB3F-90EB-D701-8B69-627704380B77}"/>
          </ac:spMkLst>
        </pc:spChg>
        <pc:spChg chg="del mod">
          <ac:chgData name="Vervloet, Toni" userId="f28533a5-53b3-4f10-93bf-dd331599556d" providerId="ADAL" clId="{84E3FAE0-22FB-47C1-84BB-1964970A2D07}" dt="2023-05-10T11:26:21.466" v="3271" actId="478"/>
          <ac:spMkLst>
            <pc:docMk/>
            <pc:sldMk cId="3486044391" sldId="2147469731"/>
            <ac:spMk id="11" creationId="{825CCB19-78D9-5B0B-5D5C-5516D484F819}"/>
          </ac:spMkLst>
        </pc:spChg>
        <pc:spChg chg="mod">
          <ac:chgData name="Vervloet, Toni" userId="f28533a5-53b3-4f10-93bf-dd331599556d" providerId="ADAL" clId="{84E3FAE0-22FB-47C1-84BB-1964970A2D07}" dt="2023-05-10T11:27:19.283" v="3316" actId="12788"/>
          <ac:spMkLst>
            <pc:docMk/>
            <pc:sldMk cId="3486044391" sldId="2147469731"/>
            <ac:spMk id="23" creationId="{60F32EAF-2B5B-5918-6B83-D19DDF5013F9}"/>
          </ac:spMkLst>
        </pc:spChg>
        <pc:spChg chg="mod">
          <ac:chgData name="Vervloet, Toni" userId="f28533a5-53b3-4f10-93bf-dd331599556d" providerId="ADAL" clId="{84E3FAE0-22FB-47C1-84BB-1964970A2D07}" dt="2023-05-10T11:27:19.283" v="3316" actId="12788"/>
          <ac:spMkLst>
            <pc:docMk/>
            <pc:sldMk cId="3486044391" sldId="2147469731"/>
            <ac:spMk id="68" creationId="{FCC20364-3DCD-9945-7323-F4BAB33BCE88}"/>
          </ac:spMkLst>
        </pc:spChg>
        <pc:spChg chg="add mod ord">
          <ac:chgData name="Vervloet, Toni" userId="f28533a5-53b3-4f10-93bf-dd331599556d" providerId="ADAL" clId="{84E3FAE0-22FB-47C1-84BB-1964970A2D07}" dt="2023-05-10T13:31:34.808" v="5783" actId="700"/>
          <ac:spMkLst>
            <pc:docMk/>
            <pc:sldMk cId="3486044391" sldId="2147469731"/>
            <ac:spMk id="124" creationId="{3FE9C9D1-C095-C375-6956-10DEC5FD48FE}"/>
          </ac:spMkLst>
        </pc:spChg>
        <pc:spChg chg="add mod ord">
          <ac:chgData name="Vervloet, Toni" userId="f28533a5-53b3-4f10-93bf-dd331599556d" providerId="ADAL" clId="{84E3FAE0-22FB-47C1-84BB-1964970A2D07}" dt="2023-05-10T13:31:34.808" v="5783" actId="700"/>
          <ac:spMkLst>
            <pc:docMk/>
            <pc:sldMk cId="3486044391" sldId="2147469731"/>
            <ac:spMk id="125" creationId="{1B785425-0824-43A4-53B0-44617359A82D}"/>
          </ac:spMkLst>
        </pc:spChg>
        <pc:grpChg chg="mod">
          <ac:chgData name="Vervloet, Toni" userId="f28533a5-53b3-4f10-93bf-dd331599556d" providerId="ADAL" clId="{84E3FAE0-22FB-47C1-84BB-1964970A2D07}" dt="2023-05-10T11:26:28.445" v="3315" actId="1037"/>
          <ac:grpSpMkLst>
            <pc:docMk/>
            <pc:sldMk cId="3486044391" sldId="2147469731"/>
            <ac:grpSpMk id="21" creationId="{C3D00C6F-263F-2478-1162-F1ACBE0B426E}"/>
          </ac:grpSpMkLst>
        </pc:grpChg>
        <pc:picChg chg="add mod">
          <ac:chgData name="Vervloet, Toni" userId="f28533a5-53b3-4f10-93bf-dd331599556d" providerId="ADAL" clId="{84E3FAE0-22FB-47C1-84BB-1964970A2D07}" dt="2023-05-10T11:27:55.578" v="3317" actId="1076"/>
          <ac:picMkLst>
            <pc:docMk/>
            <pc:sldMk cId="3486044391" sldId="2147469731"/>
            <ac:picMk id="2" creationId="{2FB27393-DD53-877D-A44C-40218D475D95}"/>
          </ac:picMkLst>
        </pc:picChg>
        <pc:picChg chg="mod">
          <ac:chgData name="Vervloet, Toni" userId="f28533a5-53b3-4f10-93bf-dd331599556d" providerId="ADAL" clId="{84E3FAE0-22FB-47C1-84BB-1964970A2D07}" dt="2023-05-10T13:31:44.435" v="5785" actId="1076"/>
          <ac:picMkLst>
            <pc:docMk/>
            <pc:sldMk cId="3486044391" sldId="2147469731"/>
            <ac:picMk id="120" creationId="{1471591A-135F-E9AA-A638-C0F516A50C7F}"/>
          </ac:picMkLst>
        </pc:picChg>
      </pc:sldChg>
      <pc:sldChg chg="addSp delSp modSp new mod ord modAnim">
        <pc:chgData name="Vervloet, Toni" userId="f28533a5-53b3-4f10-93bf-dd331599556d" providerId="ADAL" clId="{84E3FAE0-22FB-47C1-84BB-1964970A2D07}" dt="2023-05-10T13:41:07.091" v="5844"/>
        <pc:sldMkLst>
          <pc:docMk/>
          <pc:sldMk cId="2275085843" sldId="2147469732"/>
        </pc:sldMkLst>
        <pc:spChg chg="del">
          <ac:chgData name="Vervloet, Toni" userId="f28533a5-53b3-4f10-93bf-dd331599556d" providerId="ADAL" clId="{84E3FAE0-22FB-47C1-84BB-1964970A2D07}" dt="2023-05-10T13:08:19.346" v="5586" actId="478"/>
          <ac:spMkLst>
            <pc:docMk/>
            <pc:sldMk cId="2275085843" sldId="2147469732"/>
            <ac:spMk id="2" creationId="{954EF6AC-23F2-BB3A-41BC-D3EB84DAE324}"/>
          </ac:spMkLst>
        </pc:spChg>
        <pc:spChg chg="del">
          <ac:chgData name="Vervloet, Toni" userId="f28533a5-53b3-4f10-93bf-dd331599556d" providerId="ADAL" clId="{84E3FAE0-22FB-47C1-84BB-1964970A2D07}" dt="2023-05-10T13:08:15.632" v="5584" actId="478"/>
          <ac:spMkLst>
            <pc:docMk/>
            <pc:sldMk cId="2275085843" sldId="2147469732"/>
            <ac:spMk id="4" creationId="{7A099B8D-74A4-BC92-B243-8CB3DF438834}"/>
          </ac:spMkLst>
        </pc:spChg>
        <pc:spChg chg="del">
          <ac:chgData name="Vervloet, Toni" userId="f28533a5-53b3-4f10-93bf-dd331599556d" providerId="ADAL" clId="{84E3FAE0-22FB-47C1-84BB-1964970A2D07}" dt="2023-05-10T13:08:17.585" v="5585" actId="478"/>
          <ac:spMkLst>
            <pc:docMk/>
            <pc:sldMk cId="2275085843" sldId="2147469732"/>
            <ac:spMk id="5" creationId="{4CF8AF21-7163-7DE6-CC67-83EB34769CBD}"/>
          </ac:spMkLst>
        </pc:spChg>
        <pc:picChg chg="add mod">
          <ac:chgData name="Vervloet, Toni" userId="f28533a5-53b3-4f10-93bf-dd331599556d" providerId="ADAL" clId="{84E3FAE0-22FB-47C1-84BB-1964970A2D07}" dt="2023-05-10T13:40:13.199" v="5835" actId="1076"/>
          <ac:picMkLst>
            <pc:docMk/>
            <pc:sldMk cId="2275085843" sldId="2147469732"/>
            <ac:picMk id="7" creationId="{164D88BE-C0AA-6559-6EE1-073324C540C1}"/>
          </ac:picMkLst>
        </pc:picChg>
        <pc:picChg chg="add mod">
          <ac:chgData name="Vervloet, Toni" userId="f28533a5-53b3-4f10-93bf-dd331599556d" providerId="ADAL" clId="{84E3FAE0-22FB-47C1-84BB-1964970A2D07}" dt="2023-05-10T13:40:17.217" v="5836" actId="1076"/>
          <ac:picMkLst>
            <pc:docMk/>
            <pc:sldMk cId="2275085843" sldId="2147469732"/>
            <ac:picMk id="9" creationId="{C9ACA21F-182E-BE50-69B3-392BFF1C4989}"/>
          </ac:picMkLst>
        </pc:picChg>
        <pc:picChg chg="add del mod ord">
          <ac:chgData name="Vervloet, Toni" userId="f28533a5-53b3-4f10-93bf-dd331599556d" providerId="ADAL" clId="{84E3FAE0-22FB-47C1-84BB-1964970A2D07}" dt="2023-05-10T13:17:07.770" v="5601" actId="478"/>
          <ac:picMkLst>
            <pc:docMk/>
            <pc:sldMk cId="2275085843" sldId="2147469732"/>
            <ac:picMk id="11" creationId="{88E24CD6-6352-EBE9-22E8-E0B1963A8D9B}"/>
          </ac:picMkLst>
        </pc:picChg>
        <pc:picChg chg="add mod ord">
          <ac:chgData name="Vervloet, Toni" userId="f28533a5-53b3-4f10-93bf-dd331599556d" providerId="ADAL" clId="{84E3FAE0-22FB-47C1-84BB-1964970A2D07}" dt="2023-05-10T13:23:21.272" v="5651" actId="170"/>
          <ac:picMkLst>
            <pc:docMk/>
            <pc:sldMk cId="2275085843" sldId="2147469732"/>
            <ac:picMk id="13" creationId="{25B42AE8-7BA9-628A-D95E-212715293CFD}"/>
          </ac:picMkLst>
        </pc:picChg>
        <pc:picChg chg="add mod">
          <ac:chgData name="Vervloet, Toni" userId="f28533a5-53b3-4f10-93bf-dd331599556d" providerId="ADAL" clId="{84E3FAE0-22FB-47C1-84BB-1964970A2D07}" dt="2023-05-10T13:23:14.952" v="5648" actId="1440"/>
          <ac:picMkLst>
            <pc:docMk/>
            <pc:sldMk cId="2275085843" sldId="2147469732"/>
            <ac:picMk id="15" creationId="{7E771438-6543-43CC-44DA-19FC139091A6}"/>
          </ac:picMkLst>
        </pc:picChg>
      </pc:sldChg>
      <pc:sldChg chg="add">
        <pc:chgData name="Vervloet, Toni" userId="f28533a5-53b3-4f10-93bf-dd331599556d" providerId="ADAL" clId="{84E3FAE0-22FB-47C1-84BB-1964970A2D07}" dt="2023-05-10T13:28:36.913" v="5743"/>
        <pc:sldMkLst>
          <pc:docMk/>
          <pc:sldMk cId="1494120324" sldId="2147470190"/>
        </pc:sldMkLst>
      </pc:sldChg>
      <pc:sldMasterChg chg="modSp">
        <pc:chgData name="Vervloet, Toni" userId="f28533a5-53b3-4f10-93bf-dd331599556d" providerId="ADAL" clId="{84E3FAE0-22FB-47C1-84BB-1964970A2D07}" dt="2023-05-10T13:25:11.189" v="5657" actId="735"/>
        <pc:sldMasterMkLst>
          <pc:docMk/>
          <pc:sldMasterMk cId="2984305997" sldId="2147483648"/>
        </pc:sldMasterMkLst>
      </pc:sldMasterChg>
      <pc:sldMasterChg chg="delSldLayout">
        <pc:chgData name="Vervloet, Toni" userId="f28533a5-53b3-4f10-93bf-dd331599556d" providerId="ADAL" clId="{84E3FAE0-22FB-47C1-84BB-1964970A2D07}" dt="2023-05-10T13:26:20.670" v="5727" actId="2696"/>
        <pc:sldMasterMkLst>
          <pc:docMk/>
          <pc:sldMasterMk cId="1502037108" sldId="2147483660"/>
        </pc:sldMasterMkLst>
        <pc:sldLayoutChg chg="del">
          <pc:chgData name="Vervloet, Toni" userId="f28533a5-53b3-4f10-93bf-dd331599556d" providerId="ADAL" clId="{84E3FAE0-22FB-47C1-84BB-1964970A2D07}" dt="2023-05-10T13:26:20.670" v="5727" actId="2696"/>
          <pc:sldLayoutMkLst>
            <pc:docMk/>
            <pc:sldMasterMk cId="1502037108" sldId="2147483660"/>
            <pc:sldLayoutMk cId="2417337613" sldId="2147483662"/>
          </pc:sldLayoutMkLst>
        </pc:sldLayoutChg>
        <pc:sldLayoutChg chg="del">
          <pc:chgData name="Vervloet, Toni" userId="f28533a5-53b3-4f10-93bf-dd331599556d" providerId="ADAL" clId="{84E3FAE0-22FB-47C1-84BB-1964970A2D07}" dt="2023-05-10T13:26:20.666" v="5726" actId="2696"/>
          <pc:sldLayoutMkLst>
            <pc:docMk/>
            <pc:sldMasterMk cId="1502037108" sldId="2147483660"/>
            <pc:sldLayoutMk cId="2059643273" sldId="2147483663"/>
          </pc:sldLayoutMkLst>
        </pc:sldLayoutChg>
        <pc:sldLayoutChg chg="del">
          <pc:chgData name="Vervloet, Toni" userId="f28533a5-53b3-4f10-93bf-dd331599556d" providerId="ADAL" clId="{84E3FAE0-22FB-47C1-84BB-1964970A2D07}" dt="2023-05-10T13:26:20.663" v="5725" actId="2696"/>
          <pc:sldLayoutMkLst>
            <pc:docMk/>
            <pc:sldMasterMk cId="1502037108" sldId="2147483660"/>
            <pc:sldLayoutMk cId="2439565898" sldId="2147483664"/>
          </pc:sldLayoutMkLst>
        </pc:sldLayoutChg>
        <pc:sldLayoutChg chg="del">
          <pc:chgData name="Vervloet, Toni" userId="f28533a5-53b3-4f10-93bf-dd331599556d" providerId="ADAL" clId="{84E3FAE0-22FB-47C1-84BB-1964970A2D07}" dt="2023-05-10T13:26:20.660" v="5724" actId="2696"/>
          <pc:sldLayoutMkLst>
            <pc:docMk/>
            <pc:sldMasterMk cId="1502037108" sldId="2147483660"/>
            <pc:sldLayoutMk cId="3294507444" sldId="2147483665"/>
          </pc:sldLayoutMkLst>
        </pc:sldLayoutChg>
        <pc:sldLayoutChg chg="del">
          <pc:chgData name="Vervloet, Toni" userId="f28533a5-53b3-4f10-93bf-dd331599556d" providerId="ADAL" clId="{84E3FAE0-22FB-47C1-84BB-1964970A2D07}" dt="2023-05-10T13:26:20.656" v="5723" actId="2696"/>
          <pc:sldLayoutMkLst>
            <pc:docMk/>
            <pc:sldMasterMk cId="1502037108" sldId="2147483660"/>
            <pc:sldLayoutMk cId="2055470775" sldId="2147483666"/>
          </pc:sldLayoutMkLst>
        </pc:sldLayoutChg>
        <pc:sldLayoutChg chg="del">
          <pc:chgData name="Vervloet, Toni" userId="f28533a5-53b3-4f10-93bf-dd331599556d" providerId="ADAL" clId="{84E3FAE0-22FB-47C1-84BB-1964970A2D07}" dt="2023-05-10T13:26:20.653" v="5722" actId="2696"/>
          <pc:sldLayoutMkLst>
            <pc:docMk/>
            <pc:sldMasterMk cId="1502037108" sldId="2147483660"/>
            <pc:sldLayoutMk cId="1730884980" sldId="2147483667"/>
          </pc:sldLayoutMkLst>
        </pc:sldLayoutChg>
        <pc:sldLayoutChg chg="del">
          <pc:chgData name="Vervloet, Toni" userId="f28533a5-53b3-4f10-93bf-dd331599556d" providerId="ADAL" clId="{84E3FAE0-22FB-47C1-84BB-1964970A2D07}" dt="2023-05-10T13:26:20.649" v="5721" actId="2696"/>
          <pc:sldLayoutMkLst>
            <pc:docMk/>
            <pc:sldMasterMk cId="1502037108" sldId="2147483660"/>
            <pc:sldLayoutMk cId="2238045236" sldId="2147483668"/>
          </pc:sldLayoutMkLst>
        </pc:sldLayoutChg>
        <pc:sldLayoutChg chg="del">
          <pc:chgData name="Vervloet, Toni" userId="f28533a5-53b3-4f10-93bf-dd331599556d" providerId="ADAL" clId="{84E3FAE0-22FB-47C1-84BB-1964970A2D07}" dt="2023-05-10T13:26:20.627" v="5720" actId="2696"/>
          <pc:sldLayoutMkLst>
            <pc:docMk/>
            <pc:sldMasterMk cId="1502037108" sldId="2147483660"/>
            <pc:sldLayoutMk cId="3266237458" sldId="2147483669"/>
          </pc:sldLayoutMkLst>
        </pc:sldLayoutChg>
        <pc:sldLayoutChg chg="del">
          <pc:chgData name="Vervloet, Toni" userId="f28533a5-53b3-4f10-93bf-dd331599556d" providerId="ADAL" clId="{84E3FAE0-22FB-47C1-84BB-1964970A2D07}" dt="2023-05-10T13:26:14.693" v="5718" actId="2696"/>
          <pc:sldLayoutMkLst>
            <pc:docMk/>
            <pc:sldMasterMk cId="1502037108" sldId="2147483660"/>
            <pc:sldLayoutMk cId="125024496" sldId="2147483670"/>
          </pc:sldLayoutMkLst>
        </pc:sldLayoutChg>
        <pc:sldLayoutChg chg="del">
          <pc:chgData name="Vervloet, Toni" userId="f28533a5-53b3-4f10-93bf-dd331599556d" providerId="ADAL" clId="{84E3FAE0-22FB-47C1-84BB-1964970A2D07}" dt="2023-05-10T13:26:12.806" v="5717" actId="2696"/>
          <pc:sldLayoutMkLst>
            <pc:docMk/>
            <pc:sldMasterMk cId="1502037108" sldId="2147483660"/>
            <pc:sldLayoutMk cId="3167317484" sldId="2147483671"/>
          </pc:sldLayoutMkLst>
        </pc:sldLayoutChg>
        <pc:sldLayoutChg chg="del">
          <pc:chgData name="Vervloet, Toni" userId="f28533a5-53b3-4f10-93bf-dd331599556d" providerId="ADAL" clId="{84E3FAE0-22FB-47C1-84BB-1964970A2D07}" dt="2023-05-10T13:26:15.623" v="5719" actId="2696"/>
          <pc:sldLayoutMkLst>
            <pc:docMk/>
            <pc:sldMasterMk cId="1502037108" sldId="2147483660"/>
            <pc:sldLayoutMk cId="965772483" sldId="2147483672"/>
          </pc:sldLayoutMkLst>
        </pc:sldLayoutChg>
        <pc:sldLayoutChg chg="del">
          <pc:chgData name="Vervloet, Toni" userId="f28533a5-53b3-4f10-93bf-dd331599556d" providerId="ADAL" clId="{84E3FAE0-22FB-47C1-84BB-1964970A2D07}" dt="2023-05-10T13:25:22.527" v="5658" actId="2696"/>
          <pc:sldLayoutMkLst>
            <pc:docMk/>
            <pc:sldMasterMk cId="1502037108" sldId="2147483660"/>
            <pc:sldLayoutMk cId="590034867" sldId="2147483673"/>
          </pc:sldLayoutMkLst>
        </pc:sldLayoutChg>
        <pc:sldLayoutChg chg="del">
          <pc:chgData name="Vervloet, Toni" userId="f28533a5-53b3-4f10-93bf-dd331599556d" providerId="ADAL" clId="{84E3FAE0-22FB-47C1-84BB-1964970A2D07}" dt="2023-05-10T13:25:22.537" v="5659" actId="2696"/>
          <pc:sldLayoutMkLst>
            <pc:docMk/>
            <pc:sldMasterMk cId="1502037108" sldId="2147483660"/>
            <pc:sldLayoutMk cId="620285964" sldId="2147483674"/>
          </pc:sldLayoutMkLst>
        </pc:sldLayoutChg>
        <pc:sldLayoutChg chg="del">
          <pc:chgData name="Vervloet, Toni" userId="f28533a5-53b3-4f10-93bf-dd331599556d" providerId="ADAL" clId="{84E3FAE0-22FB-47C1-84BB-1964970A2D07}" dt="2023-05-10T13:25:22.548" v="5660" actId="2696"/>
          <pc:sldLayoutMkLst>
            <pc:docMk/>
            <pc:sldMasterMk cId="1502037108" sldId="2147483660"/>
            <pc:sldLayoutMk cId="2218347630" sldId="2147483675"/>
          </pc:sldLayoutMkLst>
        </pc:sldLayoutChg>
        <pc:sldLayoutChg chg="del">
          <pc:chgData name="Vervloet, Toni" userId="f28533a5-53b3-4f10-93bf-dd331599556d" providerId="ADAL" clId="{84E3FAE0-22FB-47C1-84BB-1964970A2D07}" dt="2023-05-10T13:25:22.558" v="5661" actId="2696"/>
          <pc:sldLayoutMkLst>
            <pc:docMk/>
            <pc:sldMasterMk cId="1502037108" sldId="2147483660"/>
            <pc:sldLayoutMk cId="3428219492" sldId="2147483676"/>
          </pc:sldLayoutMkLst>
        </pc:sldLayoutChg>
        <pc:sldLayoutChg chg="del">
          <pc:chgData name="Vervloet, Toni" userId="f28533a5-53b3-4f10-93bf-dd331599556d" providerId="ADAL" clId="{84E3FAE0-22FB-47C1-84BB-1964970A2D07}" dt="2023-05-10T13:25:22.567" v="5662" actId="2696"/>
          <pc:sldLayoutMkLst>
            <pc:docMk/>
            <pc:sldMasterMk cId="1502037108" sldId="2147483660"/>
            <pc:sldLayoutMk cId="3846173833" sldId="2147483677"/>
          </pc:sldLayoutMkLst>
        </pc:sldLayoutChg>
        <pc:sldLayoutChg chg="del">
          <pc:chgData name="Vervloet, Toni" userId="f28533a5-53b3-4f10-93bf-dd331599556d" providerId="ADAL" clId="{84E3FAE0-22FB-47C1-84BB-1964970A2D07}" dt="2023-05-10T13:25:22.578" v="5663" actId="2696"/>
          <pc:sldLayoutMkLst>
            <pc:docMk/>
            <pc:sldMasterMk cId="1502037108" sldId="2147483660"/>
            <pc:sldLayoutMk cId="270260165" sldId="2147483678"/>
          </pc:sldLayoutMkLst>
        </pc:sldLayoutChg>
        <pc:sldLayoutChg chg="del">
          <pc:chgData name="Vervloet, Toni" userId="f28533a5-53b3-4f10-93bf-dd331599556d" providerId="ADAL" clId="{84E3FAE0-22FB-47C1-84BB-1964970A2D07}" dt="2023-05-10T13:25:22.587" v="5664" actId="2696"/>
          <pc:sldLayoutMkLst>
            <pc:docMk/>
            <pc:sldMasterMk cId="1502037108" sldId="2147483660"/>
            <pc:sldLayoutMk cId="2174548997" sldId="2147483679"/>
          </pc:sldLayoutMkLst>
        </pc:sldLayoutChg>
        <pc:sldLayoutChg chg="del">
          <pc:chgData name="Vervloet, Toni" userId="f28533a5-53b3-4f10-93bf-dd331599556d" providerId="ADAL" clId="{84E3FAE0-22FB-47C1-84BB-1964970A2D07}" dt="2023-05-10T13:25:22.596" v="5665" actId="2696"/>
          <pc:sldLayoutMkLst>
            <pc:docMk/>
            <pc:sldMasterMk cId="1502037108" sldId="2147483660"/>
            <pc:sldLayoutMk cId="3168842306" sldId="2147483680"/>
          </pc:sldLayoutMkLst>
        </pc:sldLayoutChg>
        <pc:sldLayoutChg chg="del">
          <pc:chgData name="Vervloet, Toni" userId="f28533a5-53b3-4f10-93bf-dd331599556d" providerId="ADAL" clId="{84E3FAE0-22FB-47C1-84BB-1964970A2D07}" dt="2023-05-10T13:25:22.610" v="5666" actId="2696"/>
          <pc:sldLayoutMkLst>
            <pc:docMk/>
            <pc:sldMasterMk cId="1502037108" sldId="2147483660"/>
            <pc:sldLayoutMk cId="1219654222" sldId="2147483681"/>
          </pc:sldLayoutMkLst>
        </pc:sldLayoutChg>
        <pc:sldLayoutChg chg="del">
          <pc:chgData name="Vervloet, Toni" userId="f28533a5-53b3-4f10-93bf-dd331599556d" providerId="ADAL" clId="{84E3FAE0-22FB-47C1-84BB-1964970A2D07}" dt="2023-05-10T13:25:22.623" v="5667" actId="2696"/>
          <pc:sldLayoutMkLst>
            <pc:docMk/>
            <pc:sldMasterMk cId="1502037108" sldId="2147483660"/>
            <pc:sldLayoutMk cId="4102963272" sldId="2147483682"/>
          </pc:sldLayoutMkLst>
        </pc:sldLayoutChg>
        <pc:sldLayoutChg chg="del">
          <pc:chgData name="Vervloet, Toni" userId="f28533a5-53b3-4f10-93bf-dd331599556d" providerId="ADAL" clId="{84E3FAE0-22FB-47C1-84BB-1964970A2D07}" dt="2023-05-10T13:25:22.640" v="5668" actId="2696"/>
          <pc:sldLayoutMkLst>
            <pc:docMk/>
            <pc:sldMasterMk cId="1502037108" sldId="2147483660"/>
            <pc:sldLayoutMk cId="2614949985" sldId="2147483683"/>
          </pc:sldLayoutMkLst>
        </pc:sldLayoutChg>
        <pc:sldLayoutChg chg="del">
          <pc:chgData name="Vervloet, Toni" userId="f28533a5-53b3-4f10-93bf-dd331599556d" providerId="ADAL" clId="{84E3FAE0-22FB-47C1-84BB-1964970A2D07}" dt="2023-05-10T13:25:22.653" v="5669" actId="2696"/>
          <pc:sldLayoutMkLst>
            <pc:docMk/>
            <pc:sldMasterMk cId="1502037108" sldId="2147483660"/>
            <pc:sldLayoutMk cId="1057478413" sldId="2147483684"/>
          </pc:sldLayoutMkLst>
        </pc:sldLayoutChg>
        <pc:sldLayoutChg chg="del">
          <pc:chgData name="Vervloet, Toni" userId="f28533a5-53b3-4f10-93bf-dd331599556d" providerId="ADAL" clId="{84E3FAE0-22FB-47C1-84BB-1964970A2D07}" dt="2023-05-10T13:25:22.667" v="5670" actId="2696"/>
          <pc:sldLayoutMkLst>
            <pc:docMk/>
            <pc:sldMasterMk cId="1502037108" sldId="2147483660"/>
            <pc:sldLayoutMk cId="1670753236" sldId="2147483685"/>
          </pc:sldLayoutMkLst>
        </pc:sldLayoutChg>
        <pc:sldLayoutChg chg="del">
          <pc:chgData name="Vervloet, Toni" userId="f28533a5-53b3-4f10-93bf-dd331599556d" providerId="ADAL" clId="{84E3FAE0-22FB-47C1-84BB-1964970A2D07}" dt="2023-05-10T13:25:22.684" v="5671" actId="2696"/>
          <pc:sldLayoutMkLst>
            <pc:docMk/>
            <pc:sldMasterMk cId="1502037108" sldId="2147483660"/>
            <pc:sldLayoutMk cId="2535787073" sldId="2147483686"/>
          </pc:sldLayoutMkLst>
        </pc:sldLayoutChg>
        <pc:sldLayoutChg chg="del">
          <pc:chgData name="Vervloet, Toni" userId="f28533a5-53b3-4f10-93bf-dd331599556d" providerId="ADAL" clId="{84E3FAE0-22FB-47C1-84BB-1964970A2D07}" dt="2023-05-10T13:25:22.704" v="5672" actId="2696"/>
          <pc:sldLayoutMkLst>
            <pc:docMk/>
            <pc:sldMasterMk cId="1502037108" sldId="2147483660"/>
            <pc:sldLayoutMk cId="4185609841" sldId="2147483687"/>
          </pc:sldLayoutMkLst>
        </pc:sldLayoutChg>
        <pc:sldLayoutChg chg="del">
          <pc:chgData name="Vervloet, Toni" userId="f28533a5-53b3-4f10-93bf-dd331599556d" providerId="ADAL" clId="{84E3FAE0-22FB-47C1-84BB-1964970A2D07}" dt="2023-05-10T13:25:22.717" v="5673" actId="2696"/>
          <pc:sldLayoutMkLst>
            <pc:docMk/>
            <pc:sldMasterMk cId="1502037108" sldId="2147483660"/>
            <pc:sldLayoutMk cId="666139529" sldId="2147483688"/>
          </pc:sldLayoutMkLst>
        </pc:sldLayoutChg>
        <pc:sldLayoutChg chg="del">
          <pc:chgData name="Vervloet, Toni" userId="f28533a5-53b3-4f10-93bf-dd331599556d" providerId="ADAL" clId="{84E3FAE0-22FB-47C1-84BB-1964970A2D07}" dt="2023-05-10T13:25:22.737" v="5674" actId="2696"/>
          <pc:sldLayoutMkLst>
            <pc:docMk/>
            <pc:sldMasterMk cId="1502037108" sldId="2147483660"/>
            <pc:sldLayoutMk cId="3307739590" sldId="2147483689"/>
          </pc:sldLayoutMkLst>
        </pc:sldLayoutChg>
        <pc:sldLayoutChg chg="del">
          <pc:chgData name="Vervloet, Toni" userId="f28533a5-53b3-4f10-93bf-dd331599556d" providerId="ADAL" clId="{84E3FAE0-22FB-47C1-84BB-1964970A2D07}" dt="2023-05-10T13:25:22.756" v="5675" actId="2696"/>
          <pc:sldLayoutMkLst>
            <pc:docMk/>
            <pc:sldMasterMk cId="1502037108" sldId="2147483660"/>
            <pc:sldLayoutMk cId="3734623284" sldId="2147483690"/>
          </pc:sldLayoutMkLst>
        </pc:sldLayoutChg>
        <pc:sldLayoutChg chg="del">
          <pc:chgData name="Vervloet, Toni" userId="f28533a5-53b3-4f10-93bf-dd331599556d" providerId="ADAL" clId="{84E3FAE0-22FB-47C1-84BB-1964970A2D07}" dt="2023-05-10T13:25:36.865" v="5676" actId="2696"/>
          <pc:sldLayoutMkLst>
            <pc:docMk/>
            <pc:sldMasterMk cId="1502037108" sldId="2147483660"/>
            <pc:sldLayoutMk cId="1604287420" sldId="2147483691"/>
          </pc:sldLayoutMkLst>
        </pc:sldLayoutChg>
        <pc:sldLayoutChg chg="del">
          <pc:chgData name="Vervloet, Toni" userId="f28533a5-53b3-4f10-93bf-dd331599556d" providerId="ADAL" clId="{84E3FAE0-22FB-47C1-84BB-1964970A2D07}" dt="2023-05-10T13:25:36.875" v="5677" actId="2696"/>
          <pc:sldLayoutMkLst>
            <pc:docMk/>
            <pc:sldMasterMk cId="1502037108" sldId="2147483660"/>
            <pc:sldLayoutMk cId="2650559853" sldId="2147483692"/>
          </pc:sldLayoutMkLst>
        </pc:sldLayoutChg>
        <pc:sldLayoutChg chg="del">
          <pc:chgData name="Vervloet, Toni" userId="f28533a5-53b3-4f10-93bf-dd331599556d" providerId="ADAL" clId="{84E3FAE0-22FB-47C1-84BB-1964970A2D07}" dt="2023-05-10T13:25:36.883" v="5678" actId="2696"/>
          <pc:sldLayoutMkLst>
            <pc:docMk/>
            <pc:sldMasterMk cId="1502037108" sldId="2147483660"/>
            <pc:sldLayoutMk cId="2983532426" sldId="2147483693"/>
          </pc:sldLayoutMkLst>
        </pc:sldLayoutChg>
        <pc:sldLayoutChg chg="del">
          <pc:chgData name="Vervloet, Toni" userId="f28533a5-53b3-4f10-93bf-dd331599556d" providerId="ADAL" clId="{84E3FAE0-22FB-47C1-84BB-1964970A2D07}" dt="2023-05-10T13:25:36.893" v="5679" actId="2696"/>
          <pc:sldLayoutMkLst>
            <pc:docMk/>
            <pc:sldMasterMk cId="1502037108" sldId="2147483660"/>
            <pc:sldLayoutMk cId="1650374768" sldId="2147483694"/>
          </pc:sldLayoutMkLst>
        </pc:sldLayoutChg>
        <pc:sldLayoutChg chg="del">
          <pc:chgData name="Vervloet, Toni" userId="f28533a5-53b3-4f10-93bf-dd331599556d" providerId="ADAL" clId="{84E3FAE0-22FB-47C1-84BB-1964970A2D07}" dt="2023-05-10T13:25:36.903" v="5680" actId="2696"/>
          <pc:sldLayoutMkLst>
            <pc:docMk/>
            <pc:sldMasterMk cId="1502037108" sldId="2147483660"/>
            <pc:sldLayoutMk cId="535805255" sldId="2147483695"/>
          </pc:sldLayoutMkLst>
        </pc:sldLayoutChg>
        <pc:sldLayoutChg chg="del">
          <pc:chgData name="Vervloet, Toni" userId="f28533a5-53b3-4f10-93bf-dd331599556d" providerId="ADAL" clId="{84E3FAE0-22FB-47C1-84BB-1964970A2D07}" dt="2023-05-10T13:25:36.913" v="5681" actId="2696"/>
          <pc:sldLayoutMkLst>
            <pc:docMk/>
            <pc:sldMasterMk cId="1502037108" sldId="2147483660"/>
            <pc:sldLayoutMk cId="3191742136" sldId="2147483696"/>
          </pc:sldLayoutMkLst>
        </pc:sldLayoutChg>
        <pc:sldLayoutChg chg="del">
          <pc:chgData name="Vervloet, Toni" userId="f28533a5-53b3-4f10-93bf-dd331599556d" providerId="ADAL" clId="{84E3FAE0-22FB-47C1-84BB-1964970A2D07}" dt="2023-05-10T13:25:36.923" v="5682" actId="2696"/>
          <pc:sldLayoutMkLst>
            <pc:docMk/>
            <pc:sldMasterMk cId="1502037108" sldId="2147483660"/>
            <pc:sldLayoutMk cId="376368003" sldId="2147483697"/>
          </pc:sldLayoutMkLst>
        </pc:sldLayoutChg>
        <pc:sldLayoutChg chg="del">
          <pc:chgData name="Vervloet, Toni" userId="f28533a5-53b3-4f10-93bf-dd331599556d" providerId="ADAL" clId="{84E3FAE0-22FB-47C1-84BB-1964970A2D07}" dt="2023-05-10T13:25:36.934" v="5683" actId="2696"/>
          <pc:sldLayoutMkLst>
            <pc:docMk/>
            <pc:sldMasterMk cId="1502037108" sldId="2147483660"/>
            <pc:sldLayoutMk cId="1218389946" sldId="2147483698"/>
          </pc:sldLayoutMkLst>
        </pc:sldLayoutChg>
        <pc:sldLayoutChg chg="del">
          <pc:chgData name="Vervloet, Toni" userId="f28533a5-53b3-4f10-93bf-dd331599556d" providerId="ADAL" clId="{84E3FAE0-22FB-47C1-84BB-1964970A2D07}" dt="2023-05-10T13:25:36.943" v="5684" actId="2696"/>
          <pc:sldLayoutMkLst>
            <pc:docMk/>
            <pc:sldMasterMk cId="1502037108" sldId="2147483660"/>
            <pc:sldLayoutMk cId="4232220999" sldId="2147483699"/>
          </pc:sldLayoutMkLst>
        </pc:sldLayoutChg>
        <pc:sldLayoutChg chg="del">
          <pc:chgData name="Vervloet, Toni" userId="f28533a5-53b3-4f10-93bf-dd331599556d" providerId="ADAL" clId="{84E3FAE0-22FB-47C1-84BB-1964970A2D07}" dt="2023-05-10T13:25:36.953" v="5685" actId="2696"/>
          <pc:sldLayoutMkLst>
            <pc:docMk/>
            <pc:sldMasterMk cId="1502037108" sldId="2147483660"/>
            <pc:sldLayoutMk cId="1128129559" sldId="2147483700"/>
          </pc:sldLayoutMkLst>
        </pc:sldLayoutChg>
        <pc:sldLayoutChg chg="del">
          <pc:chgData name="Vervloet, Toni" userId="f28533a5-53b3-4f10-93bf-dd331599556d" providerId="ADAL" clId="{84E3FAE0-22FB-47C1-84BB-1964970A2D07}" dt="2023-05-10T13:25:36.964" v="5686" actId="2696"/>
          <pc:sldLayoutMkLst>
            <pc:docMk/>
            <pc:sldMasterMk cId="1502037108" sldId="2147483660"/>
            <pc:sldLayoutMk cId="3753995103" sldId="2147483701"/>
          </pc:sldLayoutMkLst>
        </pc:sldLayoutChg>
        <pc:sldLayoutChg chg="del">
          <pc:chgData name="Vervloet, Toni" userId="f28533a5-53b3-4f10-93bf-dd331599556d" providerId="ADAL" clId="{84E3FAE0-22FB-47C1-84BB-1964970A2D07}" dt="2023-05-10T13:25:36.973" v="5687" actId="2696"/>
          <pc:sldLayoutMkLst>
            <pc:docMk/>
            <pc:sldMasterMk cId="1502037108" sldId="2147483660"/>
            <pc:sldLayoutMk cId="212215455" sldId="2147483702"/>
          </pc:sldLayoutMkLst>
        </pc:sldLayoutChg>
        <pc:sldLayoutChg chg="del">
          <pc:chgData name="Vervloet, Toni" userId="f28533a5-53b3-4f10-93bf-dd331599556d" providerId="ADAL" clId="{84E3FAE0-22FB-47C1-84BB-1964970A2D07}" dt="2023-05-10T13:25:36.982" v="5688" actId="2696"/>
          <pc:sldLayoutMkLst>
            <pc:docMk/>
            <pc:sldMasterMk cId="1502037108" sldId="2147483660"/>
            <pc:sldLayoutMk cId="598257023" sldId="2147483703"/>
          </pc:sldLayoutMkLst>
        </pc:sldLayoutChg>
        <pc:sldLayoutChg chg="del">
          <pc:chgData name="Vervloet, Toni" userId="f28533a5-53b3-4f10-93bf-dd331599556d" providerId="ADAL" clId="{84E3FAE0-22FB-47C1-84BB-1964970A2D07}" dt="2023-05-10T13:25:36.989" v="5689" actId="2696"/>
          <pc:sldLayoutMkLst>
            <pc:docMk/>
            <pc:sldMasterMk cId="1502037108" sldId="2147483660"/>
            <pc:sldLayoutMk cId="3736811530" sldId="2147483704"/>
          </pc:sldLayoutMkLst>
        </pc:sldLayoutChg>
        <pc:sldLayoutChg chg="del">
          <pc:chgData name="Vervloet, Toni" userId="f28533a5-53b3-4f10-93bf-dd331599556d" providerId="ADAL" clId="{84E3FAE0-22FB-47C1-84BB-1964970A2D07}" dt="2023-05-10T13:25:36.997" v="5690" actId="2696"/>
          <pc:sldLayoutMkLst>
            <pc:docMk/>
            <pc:sldMasterMk cId="1502037108" sldId="2147483660"/>
            <pc:sldLayoutMk cId="767304099" sldId="2147483705"/>
          </pc:sldLayoutMkLst>
        </pc:sldLayoutChg>
        <pc:sldLayoutChg chg="del">
          <pc:chgData name="Vervloet, Toni" userId="f28533a5-53b3-4f10-93bf-dd331599556d" providerId="ADAL" clId="{84E3FAE0-22FB-47C1-84BB-1964970A2D07}" dt="2023-05-10T13:25:37.005" v="5691" actId="2696"/>
          <pc:sldLayoutMkLst>
            <pc:docMk/>
            <pc:sldMasterMk cId="1502037108" sldId="2147483660"/>
            <pc:sldLayoutMk cId="3613701720" sldId="2147483706"/>
          </pc:sldLayoutMkLst>
        </pc:sldLayoutChg>
        <pc:sldLayoutChg chg="del">
          <pc:chgData name="Vervloet, Toni" userId="f28533a5-53b3-4f10-93bf-dd331599556d" providerId="ADAL" clId="{84E3FAE0-22FB-47C1-84BB-1964970A2D07}" dt="2023-05-10T13:25:37.012" v="5692" actId="2696"/>
          <pc:sldLayoutMkLst>
            <pc:docMk/>
            <pc:sldMasterMk cId="1502037108" sldId="2147483660"/>
            <pc:sldLayoutMk cId="3235684115" sldId="2147483707"/>
          </pc:sldLayoutMkLst>
        </pc:sldLayoutChg>
        <pc:sldLayoutChg chg="del">
          <pc:chgData name="Vervloet, Toni" userId="f28533a5-53b3-4f10-93bf-dd331599556d" providerId="ADAL" clId="{84E3FAE0-22FB-47C1-84BB-1964970A2D07}" dt="2023-05-10T13:25:37.020" v="5693" actId="2696"/>
          <pc:sldLayoutMkLst>
            <pc:docMk/>
            <pc:sldMasterMk cId="1502037108" sldId="2147483660"/>
            <pc:sldLayoutMk cId="1232033477" sldId="2147483708"/>
          </pc:sldLayoutMkLst>
        </pc:sldLayoutChg>
        <pc:sldLayoutChg chg="del">
          <pc:chgData name="Vervloet, Toni" userId="f28533a5-53b3-4f10-93bf-dd331599556d" providerId="ADAL" clId="{84E3FAE0-22FB-47C1-84BB-1964970A2D07}" dt="2023-05-10T13:25:37.027" v="5694" actId="2696"/>
          <pc:sldLayoutMkLst>
            <pc:docMk/>
            <pc:sldMasterMk cId="1502037108" sldId="2147483660"/>
            <pc:sldLayoutMk cId="3102546196" sldId="2147483709"/>
          </pc:sldLayoutMkLst>
        </pc:sldLayoutChg>
        <pc:sldLayoutChg chg="del">
          <pc:chgData name="Vervloet, Toni" userId="f28533a5-53b3-4f10-93bf-dd331599556d" providerId="ADAL" clId="{84E3FAE0-22FB-47C1-84BB-1964970A2D07}" dt="2023-05-10T13:25:37.034" v="5695" actId="2696"/>
          <pc:sldLayoutMkLst>
            <pc:docMk/>
            <pc:sldMasterMk cId="1502037108" sldId="2147483660"/>
            <pc:sldLayoutMk cId="2471328140" sldId="2147483710"/>
          </pc:sldLayoutMkLst>
        </pc:sldLayoutChg>
        <pc:sldLayoutChg chg="del">
          <pc:chgData name="Vervloet, Toni" userId="f28533a5-53b3-4f10-93bf-dd331599556d" providerId="ADAL" clId="{84E3FAE0-22FB-47C1-84BB-1964970A2D07}" dt="2023-05-10T13:25:37.042" v="5696" actId="2696"/>
          <pc:sldLayoutMkLst>
            <pc:docMk/>
            <pc:sldMasterMk cId="1502037108" sldId="2147483660"/>
            <pc:sldLayoutMk cId="2940198988" sldId="2147483711"/>
          </pc:sldLayoutMkLst>
        </pc:sldLayoutChg>
        <pc:sldLayoutChg chg="del">
          <pc:chgData name="Vervloet, Toni" userId="f28533a5-53b3-4f10-93bf-dd331599556d" providerId="ADAL" clId="{84E3FAE0-22FB-47C1-84BB-1964970A2D07}" dt="2023-05-10T13:25:37.049" v="5697" actId="2696"/>
          <pc:sldLayoutMkLst>
            <pc:docMk/>
            <pc:sldMasterMk cId="1502037108" sldId="2147483660"/>
            <pc:sldLayoutMk cId="2199271062" sldId="2147483712"/>
          </pc:sldLayoutMkLst>
        </pc:sldLayoutChg>
        <pc:sldLayoutChg chg="del">
          <pc:chgData name="Vervloet, Toni" userId="f28533a5-53b3-4f10-93bf-dd331599556d" providerId="ADAL" clId="{84E3FAE0-22FB-47C1-84BB-1964970A2D07}" dt="2023-05-10T13:25:37.059" v="5698" actId="2696"/>
          <pc:sldLayoutMkLst>
            <pc:docMk/>
            <pc:sldMasterMk cId="1502037108" sldId="2147483660"/>
            <pc:sldLayoutMk cId="383536605" sldId="2147483713"/>
          </pc:sldLayoutMkLst>
        </pc:sldLayoutChg>
        <pc:sldLayoutChg chg="del">
          <pc:chgData name="Vervloet, Toni" userId="f28533a5-53b3-4f10-93bf-dd331599556d" providerId="ADAL" clId="{84E3FAE0-22FB-47C1-84BB-1964970A2D07}" dt="2023-05-10T13:25:37.066" v="5699" actId="2696"/>
          <pc:sldLayoutMkLst>
            <pc:docMk/>
            <pc:sldMasterMk cId="1502037108" sldId="2147483660"/>
            <pc:sldLayoutMk cId="2962853098" sldId="2147483714"/>
          </pc:sldLayoutMkLst>
        </pc:sldLayoutChg>
        <pc:sldLayoutChg chg="del">
          <pc:chgData name="Vervloet, Toni" userId="f28533a5-53b3-4f10-93bf-dd331599556d" providerId="ADAL" clId="{84E3FAE0-22FB-47C1-84BB-1964970A2D07}" dt="2023-05-10T13:26:00.725" v="5700" actId="2696"/>
          <pc:sldLayoutMkLst>
            <pc:docMk/>
            <pc:sldMasterMk cId="1502037108" sldId="2147483660"/>
            <pc:sldLayoutMk cId="868234284" sldId="2147483715"/>
          </pc:sldLayoutMkLst>
        </pc:sldLayoutChg>
        <pc:sldLayoutChg chg="del">
          <pc:chgData name="Vervloet, Toni" userId="f28533a5-53b3-4f10-93bf-dd331599556d" providerId="ADAL" clId="{84E3FAE0-22FB-47C1-84BB-1964970A2D07}" dt="2023-05-10T13:26:01.626" v="5701" actId="2696"/>
          <pc:sldLayoutMkLst>
            <pc:docMk/>
            <pc:sldMasterMk cId="1502037108" sldId="2147483660"/>
            <pc:sldLayoutMk cId="3203494283" sldId="2147483716"/>
          </pc:sldLayoutMkLst>
        </pc:sldLayoutChg>
        <pc:sldLayoutChg chg="del">
          <pc:chgData name="Vervloet, Toni" userId="f28533a5-53b3-4f10-93bf-dd331599556d" providerId="ADAL" clId="{84E3FAE0-22FB-47C1-84BB-1964970A2D07}" dt="2023-05-10T13:26:02.144" v="5702" actId="2696"/>
          <pc:sldLayoutMkLst>
            <pc:docMk/>
            <pc:sldMasterMk cId="1502037108" sldId="2147483660"/>
            <pc:sldLayoutMk cId="2081604826" sldId="2147483717"/>
          </pc:sldLayoutMkLst>
        </pc:sldLayoutChg>
        <pc:sldLayoutChg chg="del">
          <pc:chgData name="Vervloet, Toni" userId="f28533a5-53b3-4f10-93bf-dd331599556d" providerId="ADAL" clId="{84E3FAE0-22FB-47C1-84BB-1964970A2D07}" dt="2023-05-10T13:26:02.368" v="5703" actId="2696"/>
          <pc:sldLayoutMkLst>
            <pc:docMk/>
            <pc:sldMasterMk cId="1502037108" sldId="2147483660"/>
            <pc:sldLayoutMk cId="3199304934" sldId="2147483718"/>
          </pc:sldLayoutMkLst>
        </pc:sldLayoutChg>
        <pc:sldLayoutChg chg="del">
          <pc:chgData name="Vervloet, Toni" userId="f28533a5-53b3-4f10-93bf-dd331599556d" providerId="ADAL" clId="{84E3FAE0-22FB-47C1-84BB-1964970A2D07}" dt="2023-05-10T13:26:02.532" v="5704" actId="2696"/>
          <pc:sldLayoutMkLst>
            <pc:docMk/>
            <pc:sldMasterMk cId="1502037108" sldId="2147483660"/>
            <pc:sldLayoutMk cId="3241636419" sldId="2147483719"/>
          </pc:sldLayoutMkLst>
        </pc:sldLayoutChg>
        <pc:sldLayoutChg chg="del">
          <pc:chgData name="Vervloet, Toni" userId="f28533a5-53b3-4f10-93bf-dd331599556d" providerId="ADAL" clId="{84E3FAE0-22FB-47C1-84BB-1964970A2D07}" dt="2023-05-10T13:26:02.701" v="5705" actId="2696"/>
          <pc:sldLayoutMkLst>
            <pc:docMk/>
            <pc:sldMasterMk cId="1502037108" sldId="2147483660"/>
            <pc:sldLayoutMk cId="1734094690" sldId="2147483720"/>
          </pc:sldLayoutMkLst>
        </pc:sldLayoutChg>
        <pc:sldLayoutChg chg="del">
          <pc:chgData name="Vervloet, Toni" userId="f28533a5-53b3-4f10-93bf-dd331599556d" providerId="ADAL" clId="{84E3FAE0-22FB-47C1-84BB-1964970A2D07}" dt="2023-05-10T13:26:02.869" v="5706" actId="2696"/>
          <pc:sldLayoutMkLst>
            <pc:docMk/>
            <pc:sldMasterMk cId="1502037108" sldId="2147483660"/>
            <pc:sldLayoutMk cId="2480071057" sldId="2147483721"/>
          </pc:sldLayoutMkLst>
        </pc:sldLayoutChg>
        <pc:sldLayoutChg chg="del">
          <pc:chgData name="Vervloet, Toni" userId="f28533a5-53b3-4f10-93bf-dd331599556d" providerId="ADAL" clId="{84E3FAE0-22FB-47C1-84BB-1964970A2D07}" dt="2023-05-10T13:26:03.038" v="5707" actId="2696"/>
          <pc:sldLayoutMkLst>
            <pc:docMk/>
            <pc:sldMasterMk cId="1502037108" sldId="2147483660"/>
            <pc:sldLayoutMk cId="1065759194" sldId="2147483722"/>
          </pc:sldLayoutMkLst>
        </pc:sldLayoutChg>
        <pc:sldLayoutChg chg="del">
          <pc:chgData name="Vervloet, Toni" userId="f28533a5-53b3-4f10-93bf-dd331599556d" providerId="ADAL" clId="{84E3FAE0-22FB-47C1-84BB-1964970A2D07}" dt="2023-05-10T13:26:03.196" v="5708" actId="2696"/>
          <pc:sldLayoutMkLst>
            <pc:docMk/>
            <pc:sldMasterMk cId="1502037108" sldId="2147483660"/>
            <pc:sldLayoutMk cId="4017128442" sldId="2147483723"/>
          </pc:sldLayoutMkLst>
        </pc:sldLayoutChg>
        <pc:sldLayoutChg chg="del">
          <pc:chgData name="Vervloet, Toni" userId="f28533a5-53b3-4f10-93bf-dd331599556d" providerId="ADAL" clId="{84E3FAE0-22FB-47C1-84BB-1964970A2D07}" dt="2023-05-10T13:26:03.373" v="5709" actId="2696"/>
          <pc:sldLayoutMkLst>
            <pc:docMk/>
            <pc:sldMasterMk cId="1502037108" sldId="2147483660"/>
            <pc:sldLayoutMk cId="1280760686" sldId="2147483724"/>
          </pc:sldLayoutMkLst>
        </pc:sldLayoutChg>
        <pc:sldLayoutChg chg="del">
          <pc:chgData name="Vervloet, Toni" userId="f28533a5-53b3-4f10-93bf-dd331599556d" providerId="ADAL" clId="{84E3FAE0-22FB-47C1-84BB-1964970A2D07}" dt="2023-05-10T13:26:04.391" v="5710" actId="2696"/>
          <pc:sldLayoutMkLst>
            <pc:docMk/>
            <pc:sldMasterMk cId="1502037108" sldId="2147483660"/>
            <pc:sldLayoutMk cId="1563398281" sldId="2147483725"/>
          </pc:sldLayoutMkLst>
        </pc:sldLayoutChg>
        <pc:sldLayoutChg chg="del">
          <pc:chgData name="Vervloet, Toni" userId="f28533a5-53b3-4f10-93bf-dd331599556d" providerId="ADAL" clId="{84E3FAE0-22FB-47C1-84BB-1964970A2D07}" dt="2023-05-10T13:26:05.334" v="5711" actId="2696"/>
          <pc:sldLayoutMkLst>
            <pc:docMk/>
            <pc:sldMasterMk cId="1502037108" sldId="2147483660"/>
            <pc:sldLayoutMk cId="3895522789" sldId="2147483726"/>
          </pc:sldLayoutMkLst>
        </pc:sldLayoutChg>
        <pc:sldLayoutChg chg="del">
          <pc:chgData name="Vervloet, Toni" userId="f28533a5-53b3-4f10-93bf-dd331599556d" providerId="ADAL" clId="{84E3FAE0-22FB-47C1-84BB-1964970A2D07}" dt="2023-05-10T13:26:05.494" v="5712" actId="2696"/>
          <pc:sldLayoutMkLst>
            <pc:docMk/>
            <pc:sldMasterMk cId="1502037108" sldId="2147483660"/>
            <pc:sldLayoutMk cId="1674271128" sldId="2147483727"/>
          </pc:sldLayoutMkLst>
        </pc:sldLayoutChg>
        <pc:sldLayoutChg chg="del">
          <pc:chgData name="Vervloet, Toni" userId="f28533a5-53b3-4f10-93bf-dd331599556d" providerId="ADAL" clId="{84E3FAE0-22FB-47C1-84BB-1964970A2D07}" dt="2023-05-10T13:26:05.653" v="5713" actId="2696"/>
          <pc:sldLayoutMkLst>
            <pc:docMk/>
            <pc:sldMasterMk cId="1502037108" sldId="2147483660"/>
            <pc:sldLayoutMk cId="3846866820" sldId="2147483728"/>
          </pc:sldLayoutMkLst>
        </pc:sldLayoutChg>
        <pc:sldLayoutChg chg="del">
          <pc:chgData name="Vervloet, Toni" userId="f28533a5-53b3-4f10-93bf-dd331599556d" providerId="ADAL" clId="{84E3FAE0-22FB-47C1-84BB-1964970A2D07}" dt="2023-05-10T13:26:05.804" v="5714" actId="2696"/>
          <pc:sldLayoutMkLst>
            <pc:docMk/>
            <pc:sldMasterMk cId="1502037108" sldId="2147483660"/>
            <pc:sldLayoutMk cId="2688076293" sldId="2147483729"/>
          </pc:sldLayoutMkLst>
        </pc:sldLayoutChg>
        <pc:sldLayoutChg chg="del">
          <pc:chgData name="Vervloet, Toni" userId="f28533a5-53b3-4f10-93bf-dd331599556d" providerId="ADAL" clId="{84E3FAE0-22FB-47C1-84BB-1964970A2D07}" dt="2023-05-10T13:26:05.957" v="5715" actId="2696"/>
          <pc:sldLayoutMkLst>
            <pc:docMk/>
            <pc:sldMasterMk cId="1502037108" sldId="2147483660"/>
            <pc:sldLayoutMk cId="2310102260" sldId="2147483730"/>
          </pc:sldLayoutMkLst>
        </pc:sldLayoutChg>
        <pc:sldLayoutChg chg="del">
          <pc:chgData name="Vervloet, Toni" userId="f28533a5-53b3-4f10-93bf-dd331599556d" providerId="ADAL" clId="{84E3FAE0-22FB-47C1-84BB-1964970A2D07}" dt="2023-05-10T13:26:06.668" v="5716" actId="2696"/>
          <pc:sldLayoutMkLst>
            <pc:docMk/>
            <pc:sldMasterMk cId="1502037108" sldId="2147483660"/>
            <pc:sldLayoutMk cId="2832973649" sldId="2147483731"/>
          </pc:sldLayoutMkLst>
        </pc:sldLayoutChg>
      </pc:sldMasterChg>
      <pc:sldMasterChg chg="modSp delSldLayout modSldLayout">
        <pc:chgData name="Vervloet, Toni" userId="f28533a5-53b3-4f10-93bf-dd331599556d" providerId="ADAL" clId="{84E3FAE0-22FB-47C1-84BB-1964970A2D07}" dt="2023-05-10T13:43:50.673" v="5929" actId="735"/>
        <pc:sldMasterMkLst>
          <pc:docMk/>
          <pc:sldMasterMk cId="2730344243" sldId="2147483732"/>
        </pc:sldMasterMkLst>
        <pc:sldLayoutChg chg="modSp">
          <pc:chgData name="Vervloet, Toni" userId="f28533a5-53b3-4f10-93bf-dd331599556d" providerId="ADAL" clId="{84E3FAE0-22FB-47C1-84BB-1964970A2D07}" dt="2023-05-10T13:24:59.760" v="5656" actId="735"/>
          <pc:sldLayoutMkLst>
            <pc:docMk/>
            <pc:sldMasterMk cId="2730344243" sldId="2147483732"/>
            <pc:sldLayoutMk cId="768993252" sldId="2147483746"/>
          </pc:sldLayoutMkLst>
        </pc:sldLayoutChg>
        <pc:sldLayoutChg chg="modSp">
          <pc:chgData name="Vervloet, Toni" userId="f28533a5-53b3-4f10-93bf-dd331599556d" providerId="ADAL" clId="{84E3FAE0-22FB-47C1-84BB-1964970A2D07}" dt="2023-05-10T13:43:22.186" v="5898" actId="735"/>
          <pc:sldLayoutMkLst>
            <pc:docMk/>
            <pc:sldMasterMk cId="2730344243" sldId="2147483732"/>
            <pc:sldLayoutMk cId="2212910181" sldId="2147483747"/>
          </pc:sldLayoutMkLst>
        </pc:sldLayoutChg>
        <pc:sldLayoutChg chg="modSp">
          <pc:chgData name="Vervloet, Toni" userId="f28533a5-53b3-4f10-93bf-dd331599556d" providerId="ADAL" clId="{84E3FAE0-22FB-47C1-84BB-1964970A2D07}" dt="2023-05-10T13:43:22.935" v="5899" actId="735"/>
          <pc:sldLayoutMkLst>
            <pc:docMk/>
            <pc:sldMasterMk cId="2730344243" sldId="2147483732"/>
            <pc:sldLayoutMk cId="65651698" sldId="2147483748"/>
          </pc:sldLayoutMkLst>
        </pc:sldLayoutChg>
        <pc:sldLayoutChg chg="modSp">
          <pc:chgData name="Vervloet, Toni" userId="f28533a5-53b3-4f10-93bf-dd331599556d" providerId="ADAL" clId="{84E3FAE0-22FB-47C1-84BB-1964970A2D07}" dt="2023-05-10T13:43:24.515" v="5900" actId="735"/>
          <pc:sldLayoutMkLst>
            <pc:docMk/>
            <pc:sldMasterMk cId="2730344243" sldId="2147483732"/>
            <pc:sldLayoutMk cId="880582246" sldId="2147483749"/>
          </pc:sldLayoutMkLst>
        </pc:sldLayoutChg>
        <pc:sldLayoutChg chg="modSp">
          <pc:chgData name="Vervloet, Toni" userId="f28533a5-53b3-4f10-93bf-dd331599556d" providerId="ADAL" clId="{84E3FAE0-22FB-47C1-84BB-1964970A2D07}" dt="2023-05-10T13:43:25.127" v="5901" actId="735"/>
          <pc:sldLayoutMkLst>
            <pc:docMk/>
            <pc:sldMasterMk cId="2730344243" sldId="2147483732"/>
            <pc:sldLayoutMk cId="3237519975" sldId="2147483750"/>
          </pc:sldLayoutMkLst>
        </pc:sldLayoutChg>
        <pc:sldLayoutChg chg="modSp">
          <pc:chgData name="Vervloet, Toni" userId="f28533a5-53b3-4f10-93bf-dd331599556d" providerId="ADAL" clId="{84E3FAE0-22FB-47C1-84BB-1964970A2D07}" dt="2023-05-10T13:43:25.977" v="5902" actId="735"/>
          <pc:sldLayoutMkLst>
            <pc:docMk/>
            <pc:sldMasterMk cId="2730344243" sldId="2147483732"/>
            <pc:sldLayoutMk cId="4019287398" sldId="2147483751"/>
          </pc:sldLayoutMkLst>
        </pc:sldLayoutChg>
        <pc:sldLayoutChg chg="modSp">
          <pc:chgData name="Vervloet, Toni" userId="f28533a5-53b3-4f10-93bf-dd331599556d" providerId="ADAL" clId="{84E3FAE0-22FB-47C1-84BB-1964970A2D07}" dt="2023-05-10T13:43:26.566" v="5903" actId="735"/>
          <pc:sldLayoutMkLst>
            <pc:docMk/>
            <pc:sldMasterMk cId="2730344243" sldId="2147483732"/>
            <pc:sldLayoutMk cId="3074185393" sldId="2147483752"/>
          </pc:sldLayoutMkLst>
        </pc:sldLayoutChg>
        <pc:sldLayoutChg chg="modSp">
          <pc:chgData name="Vervloet, Toni" userId="f28533a5-53b3-4f10-93bf-dd331599556d" providerId="ADAL" clId="{84E3FAE0-22FB-47C1-84BB-1964970A2D07}" dt="2023-05-10T13:43:26.835" v="5904" actId="735"/>
          <pc:sldLayoutMkLst>
            <pc:docMk/>
            <pc:sldMasterMk cId="2730344243" sldId="2147483732"/>
            <pc:sldLayoutMk cId="2082962950" sldId="2147483753"/>
          </pc:sldLayoutMkLst>
        </pc:sldLayoutChg>
        <pc:sldLayoutChg chg="modSp">
          <pc:chgData name="Vervloet, Toni" userId="f28533a5-53b3-4f10-93bf-dd331599556d" providerId="ADAL" clId="{84E3FAE0-22FB-47C1-84BB-1964970A2D07}" dt="2023-05-10T13:43:27.127" v="5905" actId="735"/>
          <pc:sldLayoutMkLst>
            <pc:docMk/>
            <pc:sldMasterMk cId="2730344243" sldId="2147483732"/>
            <pc:sldLayoutMk cId="600668721" sldId="2147483754"/>
          </pc:sldLayoutMkLst>
        </pc:sldLayoutChg>
        <pc:sldLayoutChg chg="modSp">
          <pc:chgData name="Vervloet, Toni" userId="f28533a5-53b3-4f10-93bf-dd331599556d" providerId="ADAL" clId="{84E3FAE0-22FB-47C1-84BB-1964970A2D07}" dt="2023-05-10T13:43:27.842" v="5906" actId="735"/>
          <pc:sldLayoutMkLst>
            <pc:docMk/>
            <pc:sldMasterMk cId="2730344243" sldId="2147483732"/>
            <pc:sldLayoutMk cId="279856328" sldId="2147483755"/>
          </pc:sldLayoutMkLst>
        </pc:sldLayoutChg>
        <pc:sldLayoutChg chg="modSp">
          <pc:chgData name="Vervloet, Toni" userId="f28533a5-53b3-4f10-93bf-dd331599556d" providerId="ADAL" clId="{84E3FAE0-22FB-47C1-84BB-1964970A2D07}" dt="2023-05-10T13:43:28.123" v="5907" actId="735"/>
          <pc:sldLayoutMkLst>
            <pc:docMk/>
            <pc:sldMasterMk cId="2730344243" sldId="2147483732"/>
            <pc:sldLayoutMk cId="3270413347" sldId="2147483756"/>
          </pc:sldLayoutMkLst>
        </pc:sldLayoutChg>
        <pc:sldLayoutChg chg="modSp">
          <pc:chgData name="Vervloet, Toni" userId="f28533a5-53b3-4f10-93bf-dd331599556d" providerId="ADAL" clId="{84E3FAE0-22FB-47C1-84BB-1964970A2D07}" dt="2023-05-10T13:43:28.360" v="5908" actId="735"/>
          <pc:sldLayoutMkLst>
            <pc:docMk/>
            <pc:sldMasterMk cId="2730344243" sldId="2147483732"/>
            <pc:sldLayoutMk cId="2553994505" sldId="2147483757"/>
          </pc:sldLayoutMkLst>
        </pc:sldLayoutChg>
        <pc:sldLayoutChg chg="modSp">
          <pc:chgData name="Vervloet, Toni" userId="f28533a5-53b3-4f10-93bf-dd331599556d" providerId="ADAL" clId="{84E3FAE0-22FB-47C1-84BB-1964970A2D07}" dt="2023-05-10T13:43:28.412" v="5909" actId="735"/>
          <pc:sldLayoutMkLst>
            <pc:docMk/>
            <pc:sldMasterMk cId="2730344243" sldId="2147483732"/>
            <pc:sldLayoutMk cId="837850338" sldId="2147483758"/>
          </pc:sldLayoutMkLst>
        </pc:sldLayoutChg>
        <pc:sldLayoutChg chg="modSp">
          <pc:chgData name="Vervloet, Toni" userId="f28533a5-53b3-4f10-93bf-dd331599556d" providerId="ADAL" clId="{84E3FAE0-22FB-47C1-84BB-1964970A2D07}" dt="2023-05-10T13:43:28.661" v="5910" actId="735"/>
          <pc:sldLayoutMkLst>
            <pc:docMk/>
            <pc:sldMasterMk cId="2730344243" sldId="2147483732"/>
            <pc:sldLayoutMk cId="2491462" sldId="2147483759"/>
          </pc:sldLayoutMkLst>
        </pc:sldLayoutChg>
        <pc:sldLayoutChg chg="modSp">
          <pc:chgData name="Vervloet, Toni" userId="f28533a5-53b3-4f10-93bf-dd331599556d" providerId="ADAL" clId="{84E3FAE0-22FB-47C1-84BB-1964970A2D07}" dt="2023-05-10T13:43:28.727" v="5911" actId="735"/>
          <pc:sldLayoutMkLst>
            <pc:docMk/>
            <pc:sldMasterMk cId="2730344243" sldId="2147483732"/>
            <pc:sldLayoutMk cId="2913601968" sldId="2147483760"/>
          </pc:sldLayoutMkLst>
        </pc:sldLayoutChg>
        <pc:sldLayoutChg chg="modSp">
          <pc:chgData name="Vervloet, Toni" userId="f28533a5-53b3-4f10-93bf-dd331599556d" providerId="ADAL" clId="{84E3FAE0-22FB-47C1-84BB-1964970A2D07}" dt="2023-05-10T13:43:29.323" v="5912" actId="735"/>
          <pc:sldLayoutMkLst>
            <pc:docMk/>
            <pc:sldMasterMk cId="2730344243" sldId="2147483732"/>
            <pc:sldLayoutMk cId="82667781" sldId="2147483761"/>
          </pc:sldLayoutMkLst>
        </pc:sldLayoutChg>
        <pc:sldLayoutChg chg="modSp">
          <pc:chgData name="Vervloet, Toni" userId="f28533a5-53b3-4f10-93bf-dd331599556d" providerId="ADAL" clId="{84E3FAE0-22FB-47C1-84BB-1964970A2D07}" dt="2023-05-10T13:43:29.519" v="5913" actId="735"/>
          <pc:sldLayoutMkLst>
            <pc:docMk/>
            <pc:sldMasterMk cId="2730344243" sldId="2147483732"/>
            <pc:sldLayoutMk cId="3521322140" sldId="2147483762"/>
          </pc:sldLayoutMkLst>
        </pc:sldLayoutChg>
        <pc:sldLayoutChg chg="modSp">
          <pc:chgData name="Vervloet, Toni" userId="f28533a5-53b3-4f10-93bf-dd331599556d" providerId="ADAL" clId="{84E3FAE0-22FB-47C1-84BB-1964970A2D07}" dt="2023-05-10T13:43:29.619" v="5914" actId="735"/>
          <pc:sldLayoutMkLst>
            <pc:docMk/>
            <pc:sldMasterMk cId="2730344243" sldId="2147483732"/>
            <pc:sldLayoutMk cId="3775481581" sldId="2147483763"/>
          </pc:sldLayoutMkLst>
        </pc:sldLayoutChg>
        <pc:sldLayoutChg chg="modSp">
          <pc:chgData name="Vervloet, Toni" userId="f28533a5-53b3-4f10-93bf-dd331599556d" providerId="ADAL" clId="{84E3FAE0-22FB-47C1-84BB-1964970A2D07}" dt="2023-05-10T13:43:29.842" v="5915" actId="735"/>
          <pc:sldLayoutMkLst>
            <pc:docMk/>
            <pc:sldMasterMk cId="2730344243" sldId="2147483732"/>
            <pc:sldLayoutMk cId="3076141" sldId="2147483764"/>
          </pc:sldLayoutMkLst>
        </pc:sldLayoutChg>
        <pc:sldLayoutChg chg="modSp">
          <pc:chgData name="Vervloet, Toni" userId="f28533a5-53b3-4f10-93bf-dd331599556d" providerId="ADAL" clId="{84E3FAE0-22FB-47C1-84BB-1964970A2D07}" dt="2023-05-10T13:43:30.143" v="5916" actId="735"/>
          <pc:sldLayoutMkLst>
            <pc:docMk/>
            <pc:sldMasterMk cId="2730344243" sldId="2147483732"/>
            <pc:sldLayoutMk cId="3048159182" sldId="2147483765"/>
          </pc:sldLayoutMkLst>
        </pc:sldLayoutChg>
        <pc:sldLayoutChg chg="modSp">
          <pc:chgData name="Vervloet, Toni" userId="f28533a5-53b3-4f10-93bf-dd331599556d" providerId="ADAL" clId="{84E3FAE0-22FB-47C1-84BB-1964970A2D07}" dt="2023-05-10T13:43:30.217" v="5917" actId="735"/>
          <pc:sldLayoutMkLst>
            <pc:docMk/>
            <pc:sldMasterMk cId="2730344243" sldId="2147483732"/>
            <pc:sldLayoutMk cId="3510134554" sldId="2147483766"/>
          </pc:sldLayoutMkLst>
        </pc:sldLayoutChg>
        <pc:sldLayoutChg chg="modSp">
          <pc:chgData name="Vervloet, Toni" userId="f28533a5-53b3-4f10-93bf-dd331599556d" providerId="ADAL" clId="{84E3FAE0-22FB-47C1-84BB-1964970A2D07}" dt="2023-05-10T13:43:31.174" v="5918" actId="735"/>
          <pc:sldLayoutMkLst>
            <pc:docMk/>
            <pc:sldMasterMk cId="2730344243" sldId="2147483732"/>
            <pc:sldLayoutMk cId="3852657181" sldId="2147483767"/>
          </pc:sldLayoutMkLst>
        </pc:sldLayoutChg>
        <pc:sldLayoutChg chg="modSp">
          <pc:chgData name="Vervloet, Toni" userId="f28533a5-53b3-4f10-93bf-dd331599556d" providerId="ADAL" clId="{84E3FAE0-22FB-47C1-84BB-1964970A2D07}" dt="2023-05-10T13:43:31.672" v="5919" actId="735"/>
          <pc:sldLayoutMkLst>
            <pc:docMk/>
            <pc:sldMasterMk cId="2730344243" sldId="2147483732"/>
            <pc:sldLayoutMk cId="3716538808" sldId="2147483768"/>
          </pc:sldLayoutMkLst>
        </pc:sldLayoutChg>
        <pc:sldLayoutChg chg="modSp">
          <pc:chgData name="Vervloet, Toni" userId="f28533a5-53b3-4f10-93bf-dd331599556d" providerId="ADAL" clId="{84E3FAE0-22FB-47C1-84BB-1964970A2D07}" dt="2023-05-10T13:43:32.863" v="5926" actId="735"/>
          <pc:sldLayoutMkLst>
            <pc:docMk/>
            <pc:sldMasterMk cId="2730344243" sldId="2147483732"/>
            <pc:sldLayoutMk cId="646546782" sldId="2147483769"/>
          </pc:sldLayoutMkLst>
        </pc:sldLayoutChg>
        <pc:sldLayoutChg chg="modSp del">
          <pc:chgData name="Vervloet, Toni" userId="f28533a5-53b3-4f10-93bf-dd331599556d" providerId="ADAL" clId="{84E3FAE0-22FB-47C1-84BB-1964970A2D07}" dt="2023-05-10T13:43:37.284" v="5927" actId="2696"/>
          <pc:sldLayoutMkLst>
            <pc:docMk/>
            <pc:sldMasterMk cId="2730344243" sldId="2147483732"/>
            <pc:sldLayoutMk cId="1326736171" sldId="2147483770"/>
          </pc:sldLayoutMkLst>
        </pc:sldLayoutChg>
        <pc:sldLayoutChg chg="modSp">
          <pc:chgData name="Vervloet, Toni" userId="f28533a5-53b3-4f10-93bf-dd331599556d" providerId="ADAL" clId="{84E3FAE0-22FB-47C1-84BB-1964970A2D07}" dt="2023-05-10T13:43:32.802" v="5925" actId="735"/>
          <pc:sldLayoutMkLst>
            <pc:docMk/>
            <pc:sldMasterMk cId="2730344243" sldId="2147483732"/>
            <pc:sldLayoutMk cId="539646899" sldId="2147483771"/>
          </pc:sldLayoutMkLst>
        </pc:sldLayoutChg>
        <pc:sldLayoutChg chg="modSp">
          <pc:chgData name="Vervloet, Toni" userId="f28533a5-53b3-4f10-93bf-dd331599556d" providerId="ADAL" clId="{84E3FAE0-22FB-47C1-84BB-1964970A2D07}" dt="2023-05-10T13:43:31.817" v="5921" actId="735"/>
          <pc:sldLayoutMkLst>
            <pc:docMk/>
            <pc:sldMasterMk cId="2730344243" sldId="2147483732"/>
            <pc:sldLayoutMk cId="1651629047" sldId="2147483772"/>
          </pc:sldLayoutMkLst>
        </pc:sldLayoutChg>
        <pc:sldLayoutChg chg="modSp">
          <pc:chgData name="Vervloet, Toni" userId="f28533a5-53b3-4f10-93bf-dd331599556d" providerId="ADAL" clId="{84E3FAE0-22FB-47C1-84BB-1964970A2D07}" dt="2023-05-10T13:43:31.852" v="5922" actId="735"/>
          <pc:sldLayoutMkLst>
            <pc:docMk/>
            <pc:sldMasterMk cId="2730344243" sldId="2147483732"/>
            <pc:sldLayoutMk cId="3838326472" sldId="2147483773"/>
          </pc:sldLayoutMkLst>
        </pc:sldLayoutChg>
        <pc:sldLayoutChg chg="del">
          <pc:chgData name="Vervloet, Toni" userId="f28533a5-53b3-4f10-93bf-dd331599556d" providerId="ADAL" clId="{84E3FAE0-22FB-47C1-84BB-1964970A2D07}" dt="2023-05-10T13:43:45.443" v="5928" actId="2696"/>
          <pc:sldLayoutMkLst>
            <pc:docMk/>
            <pc:sldMasterMk cId="2730344243" sldId="2147483732"/>
            <pc:sldLayoutMk cId="4115338034" sldId="2147483774"/>
          </pc:sldLayoutMkLst>
        </pc:sldLayoutChg>
        <pc:sldLayoutChg chg="modSp">
          <pc:chgData name="Vervloet, Toni" userId="f28533a5-53b3-4f10-93bf-dd331599556d" providerId="ADAL" clId="{84E3FAE0-22FB-47C1-84BB-1964970A2D07}" dt="2023-05-10T13:43:31.931" v="5923" actId="735"/>
          <pc:sldLayoutMkLst>
            <pc:docMk/>
            <pc:sldMasterMk cId="2730344243" sldId="2147483732"/>
            <pc:sldLayoutMk cId="3844378343" sldId="2147483775"/>
          </pc:sldLayoutMkLst>
        </pc:sldLayoutChg>
        <pc:sldLayoutChg chg="modSp">
          <pc:chgData name="Vervloet, Toni" userId="f28533a5-53b3-4f10-93bf-dd331599556d" providerId="ADAL" clId="{84E3FAE0-22FB-47C1-84BB-1964970A2D07}" dt="2023-05-10T13:43:31.998" v="5924" actId="735"/>
          <pc:sldLayoutMkLst>
            <pc:docMk/>
            <pc:sldMasterMk cId="2730344243" sldId="2147483732"/>
            <pc:sldLayoutMk cId="3758302110" sldId="2147483776"/>
          </pc:sldLayoutMkLst>
        </pc:sldLayoutChg>
        <pc:sldLayoutChg chg="del">
          <pc:chgData name="Vervloet, Toni" userId="f28533a5-53b3-4f10-93bf-dd331599556d" providerId="ADAL" clId="{84E3FAE0-22FB-47C1-84BB-1964970A2D07}" dt="2023-05-10T13:31:03.627" v="5782" actId="47"/>
          <pc:sldLayoutMkLst>
            <pc:docMk/>
            <pc:sldMasterMk cId="2730344243" sldId="2147483732"/>
            <pc:sldLayoutMk cId="941029091" sldId="2147483788"/>
          </pc:sldLayoutMkLst>
        </pc:sldLayoutChg>
        <pc:sldLayoutChg chg="modSp">
          <pc:chgData name="Vervloet, Toni" userId="f28533a5-53b3-4f10-93bf-dd331599556d" providerId="ADAL" clId="{84E3FAE0-22FB-47C1-84BB-1964970A2D07}" dt="2023-05-10T13:43:50.673" v="5929" actId="735"/>
          <pc:sldLayoutMkLst>
            <pc:docMk/>
            <pc:sldMasterMk cId="2730344243" sldId="2147483732"/>
            <pc:sldLayoutMk cId="3885645359" sldId="2147483790"/>
          </pc:sldLayoutMkLst>
        </pc:sldLayoutChg>
      </pc:sldMasterChg>
    </pc:docChg>
  </pc:docChgLst>
  <pc:docChgLst>
    <pc:chgData name="Vervloet, Toni" userId="S::toni.vervloet@ordina.be::f28533a5-53b3-4f10-93bf-dd331599556d" providerId="AD" clId="Web-{300D4276-9EA2-4DA9-9C51-A0E3EBF09EB1}"/>
    <pc:docChg chg="modSld">
      <pc:chgData name="Vervloet, Toni" userId="S::toni.vervloet@ordina.be::f28533a5-53b3-4f10-93bf-dd331599556d" providerId="AD" clId="Web-{300D4276-9EA2-4DA9-9C51-A0E3EBF09EB1}" dt="2023-05-04T07:04:00.301" v="5" actId="20577"/>
      <pc:docMkLst>
        <pc:docMk/>
      </pc:docMkLst>
      <pc:sldChg chg="modSp">
        <pc:chgData name="Vervloet, Toni" userId="S::toni.vervloet@ordina.be::f28533a5-53b3-4f10-93bf-dd331599556d" providerId="AD" clId="Web-{300D4276-9EA2-4DA9-9C51-A0E3EBF09EB1}" dt="2023-05-04T07:03:36.019" v="1" actId="20577"/>
        <pc:sldMkLst>
          <pc:docMk/>
          <pc:sldMk cId="2507184362" sldId="2147469527"/>
        </pc:sldMkLst>
        <pc:spChg chg="mod">
          <ac:chgData name="Vervloet, Toni" userId="S::toni.vervloet@ordina.be::f28533a5-53b3-4f10-93bf-dd331599556d" providerId="AD" clId="Web-{300D4276-9EA2-4DA9-9C51-A0E3EBF09EB1}" dt="2023-05-04T07:03:36.019" v="1" actId="20577"/>
          <ac:spMkLst>
            <pc:docMk/>
            <pc:sldMk cId="2507184362" sldId="2147469527"/>
            <ac:spMk id="39" creationId="{6B6772D9-200C-4A4A-8D09-55C1003FF61C}"/>
          </ac:spMkLst>
        </pc:spChg>
      </pc:sldChg>
      <pc:sldChg chg="modSp">
        <pc:chgData name="Vervloet, Toni" userId="S::toni.vervloet@ordina.be::f28533a5-53b3-4f10-93bf-dd331599556d" providerId="AD" clId="Web-{300D4276-9EA2-4DA9-9C51-A0E3EBF09EB1}" dt="2023-05-04T07:04:00.301" v="5" actId="20577"/>
        <pc:sldMkLst>
          <pc:docMk/>
          <pc:sldMk cId="117660715" sldId="2147469716"/>
        </pc:sldMkLst>
        <pc:spChg chg="mod">
          <ac:chgData name="Vervloet, Toni" userId="S::toni.vervloet@ordina.be::f28533a5-53b3-4f10-93bf-dd331599556d" providerId="AD" clId="Web-{300D4276-9EA2-4DA9-9C51-A0E3EBF09EB1}" dt="2023-05-04T07:04:00.301" v="5" actId="20577"/>
          <ac:spMkLst>
            <pc:docMk/>
            <pc:sldMk cId="117660715" sldId="2147469716"/>
            <ac:spMk id="2" creationId="{44235DE9-CC03-FCA2-9C53-BBFD66EF74E3}"/>
          </ac:spMkLst>
        </pc:spChg>
      </pc:sldChg>
    </pc:docChg>
  </pc:docChgLst>
  <pc:docChgLst>
    <pc:chgData name="Persoons, Mathias" userId="441499e7-dba7-4c31-965e-cd23754bcc13" providerId="ADAL" clId="{F08779AD-6083-4C24-82AE-4989165FA5C0}"/>
    <pc:docChg chg="modSld">
      <pc:chgData name="Persoons, Mathias" userId="441499e7-dba7-4c31-965e-cd23754bcc13" providerId="ADAL" clId="{F08779AD-6083-4C24-82AE-4989165FA5C0}" dt="2023-06-28T07:33:30.699" v="20" actId="6549"/>
      <pc:docMkLst>
        <pc:docMk/>
      </pc:docMkLst>
      <pc:sldChg chg="modNotesTx">
        <pc:chgData name="Persoons, Mathias" userId="441499e7-dba7-4c31-965e-cd23754bcc13" providerId="ADAL" clId="{F08779AD-6083-4C24-82AE-4989165FA5C0}" dt="2023-06-28T07:33:23.462" v="17" actId="6549"/>
        <pc:sldMkLst>
          <pc:docMk/>
          <pc:sldMk cId="1836638084" sldId="257"/>
        </pc:sldMkLst>
      </pc:sldChg>
      <pc:sldChg chg="modNotesTx">
        <pc:chgData name="Persoons, Mathias" userId="441499e7-dba7-4c31-965e-cd23754bcc13" providerId="ADAL" clId="{F08779AD-6083-4C24-82AE-4989165FA5C0}" dt="2023-06-28T07:33:19.767" v="16" actId="6549"/>
        <pc:sldMkLst>
          <pc:docMk/>
          <pc:sldMk cId="3397427048" sldId="258"/>
        </pc:sldMkLst>
      </pc:sldChg>
      <pc:sldChg chg="modNotesTx">
        <pc:chgData name="Persoons, Mathias" userId="441499e7-dba7-4c31-965e-cd23754bcc13" providerId="ADAL" clId="{F08779AD-6083-4C24-82AE-4989165FA5C0}" dt="2023-06-28T07:32:27.197" v="0" actId="20577"/>
        <pc:sldMkLst>
          <pc:docMk/>
          <pc:sldMk cId="1788363932" sldId="2682"/>
        </pc:sldMkLst>
      </pc:sldChg>
      <pc:sldChg chg="modNotesTx">
        <pc:chgData name="Persoons, Mathias" userId="441499e7-dba7-4c31-965e-cd23754bcc13" providerId="ADAL" clId="{F08779AD-6083-4C24-82AE-4989165FA5C0}" dt="2023-06-28T07:32:37.451" v="3" actId="6549"/>
        <pc:sldMkLst>
          <pc:docMk/>
          <pc:sldMk cId="2507184362" sldId="2147469527"/>
        </pc:sldMkLst>
      </pc:sldChg>
      <pc:sldChg chg="modNotesTx">
        <pc:chgData name="Persoons, Mathias" userId="441499e7-dba7-4c31-965e-cd23754bcc13" providerId="ADAL" clId="{F08779AD-6083-4C24-82AE-4989165FA5C0}" dt="2023-06-28T07:32:40.073" v="4" actId="6549"/>
        <pc:sldMkLst>
          <pc:docMk/>
          <pc:sldMk cId="2767927351" sldId="2147469546"/>
        </pc:sldMkLst>
      </pc:sldChg>
      <pc:sldChg chg="modNotesTx">
        <pc:chgData name="Persoons, Mathias" userId="441499e7-dba7-4c31-965e-cd23754bcc13" providerId="ADAL" clId="{F08779AD-6083-4C24-82AE-4989165FA5C0}" dt="2023-06-28T07:33:13.436" v="14" actId="6549"/>
        <pc:sldMkLst>
          <pc:docMk/>
          <pc:sldMk cId="3580978443" sldId="2147469549"/>
        </pc:sldMkLst>
      </pc:sldChg>
      <pc:sldChg chg="modNotesTx">
        <pc:chgData name="Persoons, Mathias" userId="441499e7-dba7-4c31-965e-cd23754bcc13" providerId="ADAL" clId="{F08779AD-6083-4C24-82AE-4989165FA5C0}" dt="2023-06-28T07:32:53.484" v="8" actId="6549"/>
        <pc:sldMkLst>
          <pc:docMk/>
          <pc:sldMk cId="122054948" sldId="2147469705"/>
        </pc:sldMkLst>
      </pc:sldChg>
      <pc:sldChg chg="modNotesTx">
        <pc:chgData name="Persoons, Mathias" userId="441499e7-dba7-4c31-965e-cd23754bcc13" providerId="ADAL" clId="{F08779AD-6083-4C24-82AE-4989165FA5C0}" dt="2023-06-28T07:32:50.906" v="7" actId="6549"/>
        <pc:sldMkLst>
          <pc:docMk/>
          <pc:sldMk cId="1222490168" sldId="2147469706"/>
        </pc:sldMkLst>
      </pc:sldChg>
      <pc:sldChg chg="modNotesTx">
        <pc:chgData name="Persoons, Mathias" userId="441499e7-dba7-4c31-965e-cd23754bcc13" providerId="ADAL" clId="{F08779AD-6083-4C24-82AE-4989165FA5C0}" dt="2023-06-28T07:33:08.413" v="12" actId="6549"/>
        <pc:sldMkLst>
          <pc:docMk/>
          <pc:sldMk cId="1036238686" sldId="2147469707"/>
        </pc:sldMkLst>
      </pc:sldChg>
      <pc:sldChg chg="modNotesTx">
        <pc:chgData name="Persoons, Mathias" userId="441499e7-dba7-4c31-965e-cd23754bcc13" providerId="ADAL" clId="{F08779AD-6083-4C24-82AE-4989165FA5C0}" dt="2023-06-28T07:33:28.363" v="19" actId="6549"/>
        <pc:sldMkLst>
          <pc:docMk/>
          <pc:sldMk cId="2092685173" sldId="2147469710"/>
        </pc:sldMkLst>
      </pc:sldChg>
      <pc:sldChg chg="modNotesTx">
        <pc:chgData name="Persoons, Mathias" userId="441499e7-dba7-4c31-965e-cd23754bcc13" providerId="ADAL" clId="{F08779AD-6083-4C24-82AE-4989165FA5C0}" dt="2023-06-28T07:32:33.606" v="2" actId="6549"/>
        <pc:sldMkLst>
          <pc:docMk/>
          <pc:sldMk cId="1301564698" sldId="2147469718"/>
        </pc:sldMkLst>
      </pc:sldChg>
      <pc:sldChg chg="modNotesTx">
        <pc:chgData name="Persoons, Mathias" userId="441499e7-dba7-4c31-965e-cd23754bcc13" providerId="ADAL" clId="{F08779AD-6083-4C24-82AE-4989165FA5C0}" dt="2023-06-28T07:33:17.522" v="15" actId="6549"/>
        <pc:sldMkLst>
          <pc:docMk/>
          <pc:sldMk cId="1955021214" sldId="2147469720"/>
        </pc:sldMkLst>
      </pc:sldChg>
      <pc:sldChg chg="modNotesTx">
        <pc:chgData name="Persoons, Mathias" userId="441499e7-dba7-4c31-965e-cd23754bcc13" providerId="ADAL" clId="{F08779AD-6083-4C24-82AE-4989165FA5C0}" dt="2023-06-28T07:33:26.166" v="18" actId="6549"/>
        <pc:sldMkLst>
          <pc:docMk/>
          <pc:sldMk cId="2878625570" sldId="2147469721"/>
        </pc:sldMkLst>
      </pc:sldChg>
      <pc:sldChg chg="modNotesTx">
        <pc:chgData name="Persoons, Mathias" userId="441499e7-dba7-4c31-965e-cd23754bcc13" providerId="ADAL" clId="{F08779AD-6083-4C24-82AE-4989165FA5C0}" dt="2023-06-28T07:32:47.290" v="6" actId="6549"/>
        <pc:sldMkLst>
          <pc:docMk/>
          <pc:sldMk cId="3486044391" sldId="2147469731"/>
        </pc:sldMkLst>
      </pc:sldChg>
      <pc:sldChg chg="modNotesTx">
        <pc:chgData name="Persoons, Mathias" userId="441499e7-dba7-4c31-965e-cd23754bcc13" providerId="ADAL" clId="{F08779AD-6083-4C24-82AE-4989165FA5C0}" dt="2023-06-28T07:33:05.821" v="11" actId="6549"/>
        <pc:sldMkLst>
          <pc:docMk/>
          <pc:sldMk cId="4114597471" sldId="2147470196"/>
        </pc:sldMkLst>
      </pc:sldChg>
      <pc:sldChg chg="modNotesTx">
        <pc:chgData name="Persoons, Mathias" userId="441499e7-dba7-4c31-965e-cd23754bcc13" providerId="ADAL" clId="{F08779AD-6083-4C24-82AE-4989165FA5C0}" dt="2023-06-28T07:32:56.539" v="9" actId="6549"/>
        <pc:sldMkLst>
          <pc:docMk/>
          <pc:sldMk cId="1700925479" sldId="2147470201"/>
        </pc:sldMkLst>
      </pc:sldChg>
      <pc:sldChg chg="modNotesTx">
        <pc:chgData name="Persoons, Mathias" userId="441499e7-dba7-4c31-965e-cd23754bcc13" providerId="ADAL" clId="{F08779AD-6083-4C24-82AE-4989165FA5C0}" dt="2023-06-28T07:32:30.632" v="1" actId="20577"/>
        <pc:sldMkLst>
          <pc:docMk/>
          <pc:sldMk cId="1473440622" sldId="2147470202"/>
        </pc:sldMkLst>
      </pc:sldChg>
      <pc:sldChg chg="modNotesTx">
        <pc:chgData name="Persoons, Mathias" userId="441499e7-dba7-4c31-965e-cd23754bcc13" providerId="ADAL" clId="{F08779AD-6083-4C24-82AE-4989165FA5C0}" dt="2023-06-28T07:33:11.183" v="13" actId="6549"/>
        <pc:sldMkLst>
          <pc:docMk/>
          <pc:sldMk cId="345545217" sldId="2147470206"/>
        </pc:sldMkLst>
      </pc:sldChg>
      <pc:sldChg chg="modNotesTx">
        <pc:chgData name="Persoons, Mathias" userId="441499e7-dba7-4c31-965e-cd23754bcc13" providerId="ADAL" clId="{F08779AD-6083-4C24-82AE-4989165FA5C0}" dt="2023-06-28T07:32:43.503" v="5" actId="6549"/>
        <pc:sldMkLst>
          <pc:docMk/>
          <pc:sldMk cId="308267619" sldId="2147470207"/>
        </pc:sldMkLst>
      </pc:sldChg>
      <pc:sldChg chg="modNotesTx">
        <pc:chgData name="Persoons, Mathias" userId="441499e7-dba7-4c31-965e-cd23754bcc13" providerId="ADAL" clId="{F08779AD-6083-4C24-82AE-4989165FA5C0}" dt="2023-06-28T07:32:59.212" v="10" actId="6549"/>
        <pc:sldMkLst>
          <pc:docMk/>
          <pc:sldMk cId="1652554159" sldId="2147470211"/>
        </pc:sldMkLst>
      </pc:sldChg>
      <pc:sldChg chg="modNotesTx">
        <pc:chgData name="Persoons, Mathias" userId="441499e7-dba7-4c31-965e-cd23754bcc13" providerId="ADAL" clId="{F08779AD-6083-4C24-82AE-4989165FA5C0}" dt="2023-06-28T07:33:30.699" v="20" actId="6549"/>
        <pc:sldMkLst>
          <pc:docMk/>
          <pc:sldMk cId="2211365241" sldId="214747021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42E958-774F-4833-8DAD-EE4E7AE69AFE}" type="doc">
      <dgm:prSet loTypeId="urn:microsoft.com/office/officeart/2005/8/layout/default" loCatId="list" qsTypeId="urn:microsoft.com/office/officeart/2005/8/quickstyle/simple5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535E25DC-7192-4E14-9E8E-839A5DE15984}">
      <dgm:prSet phldrT="[Text]" custT="1"/>
      <dgm:spPr/>
      <dgm:t>
        <a:bodyPr/>
        <a:lstStyle/>
        <a:p>
          <a:r>
            <a:rPr lang="en-US" sz="3200" dirty="0"/>
            <a:t>Default label</a:t>
          </a:r>
        </a:p>
      </dgm:t>
    </dgm:pt>
    <dgm:pt modelId="{F7892010-D26B-4B31-A59F-3C77E9179FA1}" type="parTrans" cxnId="{B03FE32C-85BA-4571-ABF7-CA1B220D4F13}">
      <dgm:prSet/>
      <dgm:spPr/>
      <dgm:t>
        <a:bodyPr/>
        <a:lstStyle/>
        <a:p>
          <a:endParaRPr lang="en-US"/>
        </a:p>
      </dgm:t>
    </dgm:pt>
    <dgm:pt modelId="{31BBE616-BCE4-4623-8BEA-5A2EF405F863}" type="sibTrans" cxnId="{B03FE32C-85BA-4571-ABF7-CA1B220D4F13}">
      <dgm:prSet/>
      <dgm:spPr/>
      <dgm:t>
        <a:bodyPr/>
        <a:lstStyle/>
        <a:p>
          <a:endParaRPr lang="en-US"/>
        </a:p>
      </dgm:t>
    </dgm:pt>
    <dgm:pt modelId="{63DDD078-7A92-4B15-8D52-9FF0CD76140F}">
      <dgm:prSet custT="1"/>
      <dgm:spPr/>
      <dgm:t>
        <a:bodyPr/>
        <a:lstStyle/>
        <a:p>
          <a:r>
            <a:rPr lang="en-US" sz="3200"/>
            <a:t>Label inheritance</a:t>
          </a:r>
        </a:p>
      </dgm:t>
    </dgm:pt>
    <dgm:pt modelId="{5776E72C-FFD0-4A62-98E1-92BD9AF6745E}" type="parTrans" cxnId="{96D35BB0-944D-4B4F-AC0C-AF00B5D85D56}">
      <dgm:prSet/>
      <dgm:spPr/>
      <dgm:t>
        <a:bodyPr/>
        <a:lstStyle/>
        <a:p>
          <a:endParaRPr lang="en-US"/>
        </a:p>
      </dgm:t>
    </dgm:pt>
    <dgm:pt modelId="{B2467403-5F86-4DD8-B15D-A79D6F80D052}" type="sibTrans" cxnId="{96D35BB0-944D-4B4F-AC0C-AF00B5D85D56}">
      <dgm:prSet/>
      <dgm:spPr/>
      <dgm:t>
        <a:bodyPr/>
        <a:lstStyle/>
        <a:p>
          <a:endParaRPr lang="en-US"/>
        </a:p>
      </dgm:t>
    </dgm:pt>
    <dgm:pt modelId="{BE2655A1-C28E-4AF4-81A4-F5E353273826}">
      <dgm:prSet custT="1"/>
      <dgm:spPr/>
      <dgm:t>
        <a:bodyPr/>
        <a:lstStyle/>
        <a:p>
          <a:r>
            <a:rPr lang="en-US" sz="3200"/>
            <a:t>Super User</a:t>
          </a:r>
        </a:p>
      </dgm:t>
    </dgm:pt>
    <dgm:pt modelId="{52AF09F1-C139-48B9-9589-A7D4577BBDA5}" type="parTrans" cxnId="{AA592936-6D1C-4703-8FE8-179C281FE33D}">
      <dgm:prSet/>
      <dgm:spPr/>
      <dgm:t>
        <a:bodyPr/>
        <a:lstStyle/>
        <a:p>
          <a:endParaRPr lang="en-US"/>
        </a:p>
      </dgm:t>
    </dgm:pt>
    <dgm:pt modelId="{D70A6490-4E05-4247-8C83-CD4DD713FA8B}" type="sibTrans" cxnId="{AA592936-6D1C-4703-8FE8-179C281FE33D}">
      <dgm:prSet/>
      <dgm:spPr/>
      <dgm:t>
        <a:bodyPr/>
        <a:lstStyle/>
        <a:p>
          <a:endParaRPr lang="en-US"/>
        </a:p>
      </dgm:t>
    </dgm:pt>
    <dgm:pt modelId="{95E82874-6340-43FA-857E-9B60E223E374}">
      <dgm:prSet custT="1"/>
      <dgm:spPr/>
      <dgm:t>
        <a:bodyPr/>
        <a:lstStyle/>
        <a:p>
          <a:r>
            <a:rPr lang="en-US" sz="3200"/>
            <a:t>OME/AME vs Labels</a:t>
          </a:r>
        </a:p>
      </dgm:t>
    </dgm:pt>
    <dgm:pt modelId="{8C028CA7-5390-4C3F-A60C-76BA6D71BB73}" type="parTrans" cxnId="{8B26FB5D-315F-4925-840E-0637DBB66814}">
      <dgm:prSet/>
      <dgm:spPr/>
      <dgm:t>
        <a:bodyPr/>
        <a:lstStyle/>
        <a:p>
          <a:endParaRPr lang="en-US"/>
        </a:p>
      </dgm:t>
    </dgm:pt>
    <dgm:pt modelId="{BA36545C-C71F-48AA-AC57-1658D3B682B9}" type="sibTrans" cxnId="{8B26FB5D-315F-4925-840E-0637DBB66814}">
      <dgm:prSet/>
      <dgm:spPr/>
      <dgm:t>
        <a:bodyPr/>
        <a:lstStyle/>
        <a:p>
          <a:endParaRPr lang="en-US"/>
        </a:p>
      </dgm:t>
    </dgm:pt>
    <dgm:pt modelId="{3C968389-85B4-4952-85DA-A1007F98902F}">
      <dgm:prSet custT="1"/>
      <dgm:spPr/>
      <dgm:t>
        <a:bodyPr/>
        <a:lstStyle/>
        <a:p>
          <a:r>
            <a:rPr lang="en-US" sz="3200"/>
            <a:t>Verify policy changes</a:t>
          </a:r>
        </a:p>
      </dgm:t>
    </dgm:pt>
    <dgm:pt modelId="{116D29CF-3CF5-4D55-81E4-D2BAC9140D80}" type="parTrans" cxnId="{8B041D49-92DF-4307-82C1-6BD6CF8D7087}">
      <dgm:prSet/>
      <dgm:spPr/>
      <dgm:t>
        <a:bodyPr/>
        <a:lstStyle/>
        <a:p>
          <a:endParaRPr lang="en-US"/>
        </a:p>
      </dgm:t>
    </dgm:pt>
    <dgm:pt modelId="{82959F15-BD48-4AC1-8E36-1425296D461A}" type="sibTrans" cxnId="{8B041D49-92DF-4307-82C1-6BD6CF8D7087}">
      <dgm:prSet/>
      <dgm:spPr/>
      <dgm:t>
        <a:bodyPr/>
        <a:lstStyle/>
        <a:p>
          <a:endParaRPr lang="en-US"/>
        </a:p>
      </dgm:t>
    </dgm:pt>
    <dgm:pt modelId="{D2A20633-93BB-4BFC-B3D9-62D794C7155A}">
      <dgm:prSet custT="1"/>
      <dgm:spPr/>
      <dgm:t>
        <a:bodyPr/>
        <a:lstStyle/>
        <a:p>
          <a:r>
            <a:rPr lang="en-US" sz="3200"/>
            <a:t>Test on all platforms</a:t>
          </a:r>
        </a:p>
      </dgm:t>
    </dgm:pt>
    <dgm:pt modelId="{59DE0849-92AC-4AF8-A039-5055D815E2DB}" type="parTrans" cxnId="{4C5FD843-DC74-4FC2-AC26-B42A310BB58B}">
      <dgm:prSet/>
      <dgm:spPr/>
      <dgm:t>
        <a:bodyPr/>
        <a:lstStyle/>
        <a:p>
          <a:endParaRPr lang="en-US"/>
        </a:p>
      </dgm:t>
    </dgm:pt>
    <dgm:pt modelId="{BB3465DD-BF03-491A-8AFB-06F318F76401}" type="sibTrans" cxnId="{4C5FD843-DC74-4FC2-AC26-B42A310BB58B}">
      <dgm:prSet/>
      <dgm:spPr/>
      <dgm:t>
        <a:bodyPr/>
        <a:lstStyle/>
        <a:p>
          <a:endParaRPr lang="en-US"/>
        </a:p>
      </dgm:t>
    </dgm:pt>
    <dgm:pt modelId="{C799F135-D51E-47FC-9690-52709DB00C03}">
      <dgm:prSet custT="1"/>
      <dgm:spPr/>
      <dgm:t>
        <a:bodyPr/>
        <a:lstStyle/>
        <a:p>
          <a:r>
            <a:rPr lang="en-US" sz="3200"/>
            <a:t>Adoption is key</a:t>
          </a:r>
        </a:p>
      </dgm:t>
    </dgm:pt>
    <dgm:pt modelId="{286ACE09-00D6-421B-B354-4066E40A4DF7}" type="parTrans" cxnId="{D1F97B0E-3828-4BDA-91AB-C3E8BFCABB2C}">
      <dgm:prSet/>
      <dgm:spPr/>
      <dgm:t>
        <a:bodyPr/>
        <a:lstStyle/>
        <a:p>
          <a:endParaRPr lang="en-US"/>
        </a:p>
      </dgm:t>
    </dgm:pt>
    <dgm:pt modelId="{3BDAC0A5-C878-4ADC-9D52-241D2B7C1D17}" type="sibTrans" cxnId="{D1F97B0E-3828-4BDA-91AB-C3E8BFCABB2C}">
      <dgm:prSet/>
      <dgm:spPr/>
      <dgm:t>
        <a:bodyPr/>
        <a:lstStyle/>
        <a:p>
          <a:endParaRPr lang="en-US"/>
        </a:p>
      </dgm:t>
    </dgm:pt>
    <dgm:pt modelId="{AFDA796F-08B8-4817-BBF2-1606C3DE0BBC}">
      <dgm:prSet custT="1"/>
      <dgm:spPr/>
      <dgm:t>
        <a:bodyPr/>
        <a:lstStyle/>
        <a:p>
          <a:r>
            <a:rPr lang="en-US" sz="3200" dirty="0"/>
            <a:t>Auto-labeling: 2 flavors</a:t>
          </a:r>
        </a:p>
      </dgm:t>
    </dgm:pt>
    <dgm:pt modelId="{A1FCF465-8518-433C-826D-92F54152FE70}" type="parTrans" cxnId="{60CF5171-2557-4DA0-B5B2-28BCD2126B9A}">
      <dgm:prSet/>
      <dgm:spPr/>
      <dgm:t>
        <a:bodyPr/>
        <a:lstStyle/>
        <a:p>
          <a:endParaRPr lang="en-US"/>
        </a:p>
      </dgm:t>
    </dgm:pt>
    <dgm:pt modelId="{5EB3B063-8380-4BBC-9BD9-3C04CCBF331B}" type="sibTrans" cxnId="{60CF5171-2557-4DA0-B5B2-28BCD2126B9A}">
      <dgm:prSet/>
      <dgm:spPr/>
      <dgm:t>
        <a:bodyPr/>
        <a:lstStyle/>
        <a:p>
          <a:endParaRPr lang="en-US"/>
        </a:p>
      </dgm:t>
    </dgm:pt>
    <dgm:pt modelId="{4365A770-DE42-428B-93D3-BD956C59AA2B}" type="pres">
      <dgm:prSet presAssocID="{7042E958-774F-4833-8DAD-EE4E7AE69AFE}" presName="diagram" presStyleCnt="0">
        <dgm:presLayoutVars>
          <dgm:dir/>
          <dgm:resizeHandles val="exact"/>
        </dgm:presLayoutVars>
      </dgm:prSet>
      <dgm:spPr/>
    </dgm:pt>
    <dgm:pt modelId="{B38F3A0F-2A22-4A46-A74A-2A0216C0215C}" type="pres">
      <dgm:prSet presAssocID="{535E25DC-7192-4E14-9E8E-839A5DE15984}" presName="node" presStyleLbl="node1" presStyleIdx="0" presStyleCnt="8" custLinFactNeighborY="979">
        <dgm:presLayoutVars>
          <dgm:bulletEnabled val="1"/>
        </dgm:presLayoutVars>
      </dgm:prSet>
      <dgm:spPr/>
    </dgm:pt>
    <dgm:pt modelId="{C4D7DB84-20C5-45B6-A736-577A08A27C52}" type="pres">
      <dgm:prSet presAssocID="{31BBE616-BCE4-4623-8BEA-5A2EF405F863}" presName="sibTrans" presStyleCnt="0"/>
      <dgm:spPr/>
    </dgm:pt>
    <dgm:pt modelId="{F8FAB587-D71F-455D-A7FD-3A0BAA06D7A0}" type="pres">
      <dgm:prSet presAssocID="{63DDD078-7A92-4B15-8D52-9FF0CD76140F}" presName="node" presStyleLbl="node1" presStyleIdx="1" presStyleCnt="8">
        <dgm:presLayoutVars>
          <dgm:bulletEnabled val="1"/>
        </dgm:presLayoutVars>
      </dgm:prSet>
      <dgm:spPr/>
    </dgm:pt>
    <dgm:pt modelId="{381E148F-65D8-4D14-BE41-D2BCEE6DB250}" type="pres">
      <dgm:prSet presAssocID="{B2467403-5F86-4DD8-B15D-A79D6F80D052}" presName="sibTrans" presStyleCnt="0"/>
      <dgm:spPr/>
    </dgm:pt>
    <dgm:pt modelId="{81168A88-ADC5-476E-AA65-3E2E9ACE63F0}" type="pres">
      <dgm:prSet presAssocID="{BE2655A1-C28E-4AF4-81A4-F5E353273826}" presName="node" presStyleLbl="node1" presStyleIdx="2" presStyleCnt="8">
        <dgm:presLayoutVars>
          <dgm:bulletEnabled val="1"/>
        </dgm:presLayoutVars>
      </dgm:prSet>
      <dgm:spPr/>
    </dgm:pt>
    <dgm:pt modelId="{798858B0-B030-4023-9442-0F04FD490B25}" type="pres">
      <dgm:prSet presAssocID="{D70A6490-4E05-4247-8C83-CD4DD713FA8B}" presName="sibTrans" presStyleCnt="0"/>
      <dgm:spPr/>
    </dgm:pt>
    <dgm:pt modelId="{E70A600E-92C1-40B2-8793-F613631D4BC7}" type="pres">
      <dgm:prSet presAssocID="{AFDA796F-08B8-4817-BBF2-1606C3DE0BBC}" presName="node" presStyleLbl="node1" presStyleIdx="3" presStyleCnt="8">
        <dgm:presLayoutVars>
          <dgm:bulletEnabled val="1"/>
        </dgm:presLayoutVars>
      </dgm:prSet>
      <dgm:spPr/>
    </dgm:pt>
    <dgm:pt modelId="{252C5B00-7108-4E95-8716-1AB669F65700}" type="pres">
      <dgm:prSet presAssocID="{5EB3B063-8380-4BBC-9BD9-3C04CCBF331B}" presName="sibTrans" presStyleCnt="0"/>
      <dgm:spPr/>
    </dgm:pt>
    <dgm:pt modelId="{D4E58840-2EEF-4F1E-A2AD-0BE3EBE96C5D}" type="pres">
      <dgm:prSet presAssocID="{95E82874-6340-43FA-857E-9B60E223E374}" presName="node" presStyleLbl="node1" presStyleIdx="4" presStyleCnt="8">
        <dgm:presLayoutVars>
          <dgm:bulletEnabled val="1"/>
        </dgm:presLayoutVars>
      </dgm:prSet>
      <dgm:spPr/>
    </dgm:pt>
    <dgm:pt modelId="{A2DAD35A-A4B5-4EB3-A413-60D3D841E38D}" type="pres">
      <dgm:prSet presAssocID="{BA36545C-C71F-48AA-AC57-1658D3B682B9}" presName="sibTrans" presStyleCnt="0"/>
      <dgm:spPr/>
    </dgm:pt>
    <dgm:pt modelId="{9F00C6B1-DEFE-4910-AD40-0F5FAF976F6A}" type="pres">
      <dgm:prSet presAssocID="{3C968389-85B4-4952-85DA-A1007F98902F}" presName="node" presStyleLbl="node1" presStyleIdx="5" presStyleCnt="8">
        <dgm:presLayoutVars>
          <dgm:bulletEnabled val="1"/>
        </dgm:presLayoutVars>
      </dgm:prSet>
      <dgm:spPr/>
    </dgm:pt>
    <dgm:pt modelId="{19D6A28D-4E5F-4547-9F6E-7F177B294066}" type="pres">
      <dgm:prSet presAssocID="{82959F15-BD48-4AC1-8E36-1425296D461A}" presName="sibTrans" presStyleCnt="0"/>
      <dgm:spPr/>
    </dgm:pt>
    <dgm:pt modelId="{F2E2CE04-92AF-453D-8B93-056B76FD5F78}" type="pres">
      <dgm:prSet presAssocID="{D2A20633-93BB-4BFC-B3D9-62D794C7155A}" presName="node" presStyleLbl="node1" presStyleIdx="6" presStyleCnt="8">
        <dgm:presLayoutVars>
          <dgm:bulletEnabled val="1"/>
        </dgm:presLayoutVars>
      </dgm:prSet>
      <dgm:spPr/>
    </dgm:pt>
    <dgm:pt modelId="{88A93434-BD1F-4756-99F1-3E0A9FE39055}" type="pres">
      <dgm:prSet presAssocID="{BB3465DD-BF03-491A-8AFB-06F318F76401}" presName="sibTrans" presStyleCnt="0"/>
      <dgm:spPr/>
    </dgm:pt>
    <dgm:pt modelId="{FEE0AE58-5456-4D94-AC5B-10A059332C6F}" type="pres">
      <dgm:prSet presAssocID="{C799F135-D51E-47FC-9690-52709DB00C03}" presName="node" presStyleLbl="node1" presStyleIdx="7" presStyleCnt="8">
        <dgm:presLayoutVars>
          <dgm:bulletEnabled val="1"/>
        </dgm:presLayoutVars>
      </dgm:prSet>
      <dgm:spPr/>
    </dgm:pt>
  </dgm:ptLst>
  <dgm:cxnLst>
    <dgm:cxn modelId="{D1F97B0E-3828-4BDA-91AB-C3E8BFCABB2C}" srcId="{7042E958-774F-4833-8DAD-EE4E7AE69AFE}" destId="{C799F135-D51E-47FC-9690-52709DB00C03}" srcOrd="7" destOrd="0" parTransId="{286ACE09-00D6-421B-B354-4066E40A4DF7}" sibTransId="{3BDAC0A5-C878-4ADC-9D52-241D2B7C1D17}"/>
    <dgm:cxn modelId="{B03FE32C-85BA-4571-ABF7-CA1B220D4F13}" srcId="{7042E958-774F-4833-8DAD-EE4E7AE69AFE}" destId="{535E25DC-7192-4E14-9E8E-839A5DE15984}" srcOrd="0" destOrd="0" parTransId="{F7892010-D26B-4B31-A59F-3C77E9179FA1}" sibTransId="{31BBE616-BCE4-4623-8BEA-5A2EF405F863}"/>
    <dgm:cxn modelId="{090E4A35-5028-4E73-B6E3-4048701DA5EE}" type="presOf" srcId="{63DDD078-7A92-4B15-8D52-9FF0CD76140F}" destId="{F8FAB587-D71F-455D-A7FD-3A0BAA06D7A0}" srcOrd="0" destOrd="0" presId="urn:microsoft.com/office/officeart/2005/8/layout/default"/>
    <dgm:cxn modelId="{AA592936-6D1C-4703-8FE8-179C281FE33D}" srcId="{7042E958-774F-4833-8DAD-EE4E7AE69AFE}" destId="{BE2655A1-C28E-4AF4-81A4-F5E353273826}" srcOrd="2" destOrd="0" parTransId="{52AF09F1-C139-48B9-9589-A7D4577BBDA5}" sibTransId="{D70A6490-4E05-4247-8C83-CD4DD713FA8B}"/>
    <dgm:cxn modelId="{8D31B03F-29AD-4259-8D07-4D0266AD3F58}" type="presOf" srcId="{AFDA796F-08B8-4817-BBF2-1606C3DE0BBC}" destId="{E70A600E-92C1-40B2-8793-F613631D4BC7}" srcOrd="0" destOrd="0" presId="urn:microsoft.com/office/officeart/2005/8/layout/default"/>
    <dgm:cxn modelId="{8B26FB5D-315F-4925-840E-0637DBB66814}" srcId="{7042E958-774F-4833-8DAD-EE4E7AE69AFE}" destId="{95E82874-6340-43FA-857E-9B60E223E374}" srcOrd="4" destOrd="0" parTransId="{8C028CA7-5390-4C3F-A60C-76BA6D71BB73}" sibTransId="{BA36545C-C71F-48AA-AC57-1658D3B682B9}"/>
    <dgm:cxn modelId="{4C5FD843-DC74-4FC2-AC26-B42A310BB58B}" srcId="{7042E958-774F-4833-8DAD-EE4E7AE69AFE}" destId="{D2A20633-93BB-4BFC-B3D9-62D794C7155A}" srcOrd="6" destOrd="0" parTransId="{59DE0849-92AC-4AF8-A039-5055D815E2DB}" sibTransId="{BB3465DD-BF03-491A-8AFB-06F318F76401}"/>
    <dgm:cxn modelId="{BBB66D66-67A9-4D65-A73E-D0397C3695FB}" type="presOf" srcId="{95E82874-6340-43FA-857E-9B60E223E374}" destId="{D4E58840-2EEF-4F1E-A2AD-0BE3EBE96C5D}" srcOrd="0" destOrd="0" presId="urn:microsoft.com/office/officeart/2005/8/layout/default"/>
    <dgm:cxn modelId="{8B041D49-92DF-4307-82C1-6BD6CF8D7087}" srcId="{7042E958-774F-4833-8DAD-EE4E7AE69AFE}" destId="{3C968389-85B4-4952-85DA-A1007F98902F}" srcOrd="5" destOrd="0" parTransId="{116D29CF-3CF5-4D55-81E4-D2BAC9140D80}" sibTransId="{82959F15-BD48-4AC1-8E36-1425296D461A}"/>
    <dgm:cxn modelId="{60CF5171-2557-4DA0-B5B2-28BCD2126B9A}" srcId="{7042E958-774F-4833-8DAD-EE4E7AE69AFE}" destId="{AFDA796F-08B8-4817-BBF2-1606C3DE0BBC}" srcOrd="3" destOrd="0" parTransId="{A1FCF465-8518-433C-826D-92F54152FE70}" sibTransId="{5EB3B063-8380-4BBC-9BD9-3C04CCBF331B}"/>
    <dgm:cxn modelId="{81CC597B-734D-4783-B614-23786D70C20C}" type="presOf" srcId="{3C968389-85B4-4952-85DA-A1007F98902F}" destId="{9F00C6B1-DEFE-4910-AD40-0F5FAF976F6A}" srcOrd="0" destOrd="0" presId="urn:microsoft.com/office/officeart/2005/8/layout/default"/>
    <dgm:cxn modelId="{0D712F9D-9C69-4778-95C4-5943828F1D8A}" type="presOf" srcId="{535E25DC-7192-4E14-9E8E-839A5DE15984}" destId="{B38F3A0F-2A22-4A46-A74A-2A0216C0215C}" srcOrd="0" destOrd="0" presId="urn:microsoft.com/office/officeart/2005/8/layout/default"/>
    <dgm:cxn modelId="{96D35BB0-944D-4B4F-AC0C-AF00B5D85D56}" srcId="{7042E958-774F-4833-8DAD-EE4E7AE69AFE}" destId="{63DDD078-7A92-4B15-8D52-9FF0CD76140F}" srcOrd="1" destOrd="0" parTransId="{5776E72C-FFD0-4A62-98E1-92BD9AF6745E}" sibTransId="{B2467403-5F86-4DD8-B15D-A79D6F80D052}"/>
    <dgm:cxn modelId="{54B904C1-6610-4730-9AB6-7A2AC24A3187}" type="presOf" srcId="{C799F135-D51E-47FC-9690-52709DB00C03}" destId="{FEE0AE58-5456-4D94-AC5B-10A059332C6F}" srcOrd="0" destOrd="0" presId="urn:microsoft.com/office/officeart/2005/8/layout/default"/>
    <dgm:cxn modelId="{C98FCCCA-C241-4384-B1A6-0A69C8B7C7FD}" type="presOf" srcId="{D2A20633-93BB-4BFC-B3D9-62D794C7155A}" destId="{F2E2CE04-92AF-453D-8B93-056B76FD5F78}" srcOrd="0" destOrd="0" presId="urn:microsoft.com/office/officeart/2005/8/layout/default"/>
    <dgm:cxn modelId="{ECEC4BD7-1830-479C-BF24-4B86E3BADFE2}" type="presOf" srcId="{7042E958-774F-4833-8DAD-EE4E7AE69AFE}" destId="{4365A770-DE42-428B-93D3-BD956C59AA2B}" srcOrd="0" destOrd="0" presId="urn:microsoft.com/office/officeart/2005/8/layout/default"/>
    <dgm:cxn modelId="{B4D998DA-08C8-4531-B491-F11FCCB56A9C}" type="presOf" srcId="{BE2655A1-C28E-4AF4-81A4-F5E353273826}" destId="{81168A88-ADC5-476E-AA65-3E2E9ACE63F0}" srcOrd="0" destOrd="0" presId="urn:microsoft.com/office/officeart/2005/8/layout/default"/>
    <dgm:cxn modelId="{09F3F23E-FBCE-4ABE-B834-833C9D38E701}" type="presParOf" srcId="{4365A770-DE42-428B-93D3-BD956C59AA2B}" destId="{B38F3A0F-2A22-4A46-A74A-2A0216C0215C}" srcOrd="0" destOrd="0" presId="urn:microsoft.com/office/officeart/2005/8/layout/default"/>
    <dgm:cxn modelId="{885A4E34-467A-49EF-84C1-3F9DEA68E215}" type="presParOf" srcId="{4365A770-DE42-428B-93D3-BD956C59AA2B}" destId="{C4D7DB84-20C5-45B6-A736-577A08A27C52}" srcOrd="1" destOrd="0" presId="urn:microsoft.com/office/officeart/2005/8/layout/default"/>
    <dgm:cxn modelId="{595E79AD-D69F-42F3-AE79-887AB3C9F0E1}" type="presParOf" srcId="{4365A770-DE42-428B-93D3-BD956C59AA2B}" destId="{F8FAB587-D71F-455D-A7FD-3A0BAA06D7A0}" srcOrd="2" destOrd="0" presId="urn:microsoft.com/office/officeart/2005/8/layout/default"/>
    <dgm:cxn modelId="{BDA872AA-1EC9-45E2-A263-534CE1BD3DAB}" type="presParOf" srcId="{4365A770-DE42-428B-93D3-BD956C59AA2B}" destId="{381E148F-65D8-4D14-BE41-D2BCEE6DB250}" srcOrd="3" destOrd="0" presId="urn:microsoft.com/office/officeart/2005/8/layout/default"/>
    <dgm:cxn modelId="{C50032A4-2BEE-4F0B-B6A6-E5B8661FC2F2}" type="presParOf" srcId="{4365A770-DE42-428B-93D3-BD956C59AA2B}" destId="{81168A88-ADC5-476E-AA65-3E2E9ACE63F0}" srcOrd="4" destOrd="0" presId="urn:microsoft.com/office/officeart/2005/8/layout/default"/>
    <dgm:cxn modelId="{B8AA96EE-D148-423C-BB2E-51E1FDDC9F81}" type="presParOf" srcId="{4365A770-DE42-428B-93D3-BD956C59AA2B}" destId="{798858B0-B030-4023-9442-0F04FD490B25}" srcOrd="5" destOrd="0" presId="urn:microsoft.com/office/officeart/2005/8/layout/default"/>
    <dgm:cxn modelId="{36F8E93F-4876-4D62-B11E-8BC6A323BAB5}" type="presParOf" srcId="{4365A770-DE42-428B-93D3-BD956C59AA2B}" destId="{E70A600E-92C1-40B2-8793-F613631D4BC7}" srcOrd="6" destOrd="0" presId="urn:microsoft.com/office/officeart/2005/8/layout/default"/>
    <dgm:cxn modelId="{7A086488-18DC-4F97-9AA3-AEA244135482}" type="presParOf" srcId="{4365A770-DE42-428B-93D3-BD956C59AA2B}" destId="{252C5B00-7108-4E95-8716-1AB669F65700}" srcOrd="7" destOrd="0" presId="urn:microsoft.com/office/officeart/2005/8/layout/default"/>
    <dgm:cxn modelId="{D926B6B0-CA0D-4FF9-890D-F4054F1A9C18}" type="presParOf" srcId="{4365A770-DE42-428B-93D3-BD956C59AA2B}" destId="{D4E58840-2EEF-4F1E-A2AD-0BE3EBE96C5D}" srcOrd="8" destOrd="0" presId="urn:microsoft.com/office/officeart/2005/8/layout/default"/>
    <dgm:cxn modelId="{46BB2639-1A82-46A0-AD5B-E27D8D9151AF}" type="presParOf" srcId="{4365A770-DE42-428B-93D3-BD956C59AA2B}" destId="{A2DAD35A-A4B5-4EB3-A413-60D3D841E38D}" srcOrd="9" destOrd="0" presId="urn:microsoft.com/office/officeart/2005/8/layout/default"/>
    <dgm:cxn modelId="{A8CB333C-A832-410A-9173-87DCF8A671DF}" type="presParOf" srcId="{4365A770-DE42-428B-93D3-BD956C59AA2B}" destId="{9F00C6B1-DEFE-4910-AD40-0F5FAF976F6A}" srcOrd="10" destOrd="0" presId="urn:microsoft.com/office/officeart/2005/8/layout/default"/>
    <dgm:cxn modelId="{0B235E24-A19A-4188-83B5-BC83F9804B80}" type="presParOf" srcId="{4365A770-DE42-428B-93D3-BD956C59AA2B}" destId="{19D6A28D-4E5F-4547-9F6E-7F177B294066}" srcOrd="11" destOrd="0" presId="urn:microsoft.com/office/officeart/2005/8/layout/default"/>
    <dgm:cxn modelId="{934F695B-70B1-4FFF-853F-A98318AAC28D}" type="presParOf" srcId="{4365A770-DE42-428B-93D3-BD956C59AA2B}" destId="{F2E2CE04-92AF-453D-8B93-056B76FD5F78}" srcOrd="12" destOrd="0" presId="urn:microsoft.com/office/officeart/2005/8/layout/default"/>
    <dgm:cxn modelId="{F5DFA421-6B99-4A61-BE8E-750FDF1F99D4}" type="presParOf" srcId="{4365A770-DE42-428B-93D3-BD956C59AA2B}" destId="{88A93434-BD1F-4756-99F1-3E0A9FE39055}" srcOrd="13" destOrd="0" presId="urn:microsoft.com/office/officeart/2005/8/layout/default"/>
    <dgm:cxn modelId="{CF2C8D23-BD55-4CF1-8221-E831719BBD2E}" type="presParOf" srcId="{4365A770-DE42-428B-93D3-BD956C59AA2B}" destId="{FEE0AE58-5456-4D94-AC5B-10A059332C6F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7E41A6-4C40-4A56-80AC-A00C2294ECB1}" type="doc">
      <dgm:prSet loTypeId="urn:microsoft.com/office/officeart/2005/8/layout/defaul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6E252F-F3AE-4629-A045-2029B06FC603}">
      <dgm:prSet phldrT="[Text]"/>
      <dgm:spPr/>
      <dgm:t>
        <a:bodyPr/>
        <a:lstStyle/>
        <a:p>
          <a:r>
            <a:rPr lang="en-US" dirty="0"/>
            <a:t>Coloring scheme</a:t>
          </a:r>
        </a:p>
      </dgm:t>
    </dgm:pt>
    <dgm:pt modelId="{1E95A9EC-6AB7-4D7E-BED4-73680291F37A}" type="parTrans" cxnId="{AEDD410C-0D8F-4CED-9251-C130DB57BA93}">
      <dgm:prSet/>
      <dgm:spPr/>
      <dgm:t>
        <a:bodyPr/>
        <a:lstStyle/>
        <a:p>
          <a:endParaRPr lang="en-US"/>
        </a:p>
      </dgm:t>
    </dgm:pt>
    <dgm:pt modelId="{DC7DB10F-020B-4367-841B-A80E4CF369C3}" type="sibTrans" cxnId="{AEDD410C-0D8F-4CED-9251-C130DB57BA93}">
      <dgm:prSet/>
      <dgm:spPr/>
      <dgm:t>
        <a:bodyPr/>
        <a:lstStyle/>
        <a:p>
          <a:endParaRPr lang="en-US"/>
        </a:p>
      </dgm:t>
    </dgm:pt>
    <dgm:pt modelId="{78C431FA-7443-48A6-B9C2-4D37B4EF299E}">
      <dgm:prSet/>
      <dgm:spPr/>
      <dgm:t>
        <a:bodyPr/>
        <a:lstStyle/>
        <a:p>
          <a:r>
            <a:rPr lang="en-US"/>
            <a:t>Information Bar</a:t>
          </a:r>
        </a:p>
      </dgm:t>
    </dgm:pt>
    <dgm:pt modelId="{9F8921BE-1579-4DF6-AE5E-7132A49B5A06}" type="parTrans" cxnId="{F93F65E3-68FF-4E13-AA97-504F6B82B295}">
      <dgm:prSet/>
      <dgm:spPr/>
      <dgm:t>
        <a:bodyPr/>
        <a:lstStyle/>
        <a:p>
          <a:endParaRPr lang="en-US"/>
        </a:p>
      </dgm:t>
    </dgm:pt>
    <dgm:pt modelId="{ECD88B81-8503-41D1-991F-EF9D59995543}" type="sibTrans" cxnId="{F93F65E3-68FF-4E13-AA97-504F6B82B295}">
      <dgm:prSet/>
      <dgm:spPr/>
      <dgm:t>
        <a:bodyPr/>
        <a:lstStyle/>
        <a:p>
          <a:endParaRPr lang="en-US"/>
        </a:p>
      </dgm:t>
    </dgm:pt>
    <dgm:pt modelId="{66F79B19-25A8-4F60-A764-0C481DF6B9E4}">
      <dgm:prSet/>
      <dgm:spPr/>
      <dgm:t>
        <a:bodyPr/>
        <a:lstStyle/>
        <a:p>
          <a:r>
            <a:rPr lang="en-US"/>
            <a:t>Labels visible in SPO sharing dialog box</a:t>
          </a:r>
        </a:p>
      </dgm:t>
    </dgm:pt>
    <dgm:pt modelId="{77DFC209-DE70-4A19-9EB1-EF6CACA0AA8B}" type="parTrans" cxnId="{0568AAE1-01FA-4739-8DE8-2DBA40F0866C}">
      <dgm:prSet/>
      <dgm:spPr/>
      <dgm:t>
        <a:bodyPr/>
        <a:lstStyle/>
        <a:p>
          <a:endParaRPr lang="en-US"/>
        </a:p>
      </dgm:t>
    </dgm:pt>
    <dgm:pt modelId="{60606BBB-551A-4F01-BEC1-40330CF5ED31}" type="sibTrans" cxnId="{0568AAE1-01FA-4739-8DE8-2DBA40F0866C}">
      <dgm:prSet/>
      <dgm:spPr/>
      <dgm:t>
        <a:bodyPr/>
        <a:lstStyle/>
        <a:p>
          <a:endParaRPr lang="en-US"/>
        </a:p>
      </dgm:t>
    </dgm:pt>
    <dgm:pt modelId="{4D297D1B-DF77-45D1-B6C1-3BD4323AC228}">
      <dgm:prSet/>
      <dgm:spPr/>
      <dgm:t>
        <a:bodyPr/>
        <a:lstStyle/>
        <a:p>
          <a:r>
            <a:rPr lang="en-US" dirty="0"/>
            <a:t>Encryption algorithm changes</a:t>
          </a:r>
        </a:p>
      </dgm:t>
    </dgm:pt>
    <dgm:pt modelId="{EB0BC961-67BF-4AD6-9637-884D0F2FA6BA}" type="sibTrans" cxnId="{3D67A816-E63A-4C06-AC3F-DDCE002C590C}">
      <dgm:prSet/>
      <dgm:spPr/>
      <dgm:t>
        <a:bodyPr/>
        <a:lstStyle/>
        <a:p>
          <a:endParaRPr lang="en-US"/>
        </a:p>
      </dgm:t>
    </dgm:pt>
    <dgm:pt modelId="{041E2EAE-2B69-4F1C-8FD7-102DD3CC1B50}" type="parTrans" cxnId="{3D67A816-E63A-4C06-AC3F-DDCE002C590C}">
      <dgm:prSet/>
      <dgm:spPr/>
      <dgm:t>
        <a:bodyPr/>
        <a:lstStyle/>
        <a:p>
          <a:endParaRPr lang="en-US"/>
        </a:p>
      </dgm:t>
    </dgm:pt>
    <dgm:pt modelId="{B1585384-BC40-4BE9-A521-F6C1DBF9C926}">
      <dgm:prSet/>
      <dgm:spPr/>
      <dgm:t>
        <a:bodyPr/>
        <a:lstStyle/>
        <a:p>
          <a:r>
            <a:rPr lang="en-US"/>
            <a:t>Teams Premium – Meetings and Calendar Events</a:t>
          </a:r>
        </a:p>
      </dgm:t>
    </dgm:pt>
    <dgm:pt modelId="{F745503E-4BD5-48FC-A6C5-4C7B72FB483A}" type="sibTrans" cxnId="{4FEA03D2-1228-4EDF-9090-97A0B6BF7797}">
      <dgm:prSet/>
      <dgm:spPr/>
      <dgm:t>
        <a:bodyPr/>
        <a:lstStyle/>
        <a:p>
          <a:endParaRPr lang="en-US"/>
        </a:p>
      </dgm:t>
    </dgm:pt>
    <dgm:pt modelId="{E054AB08-84B7-452D-AF25-3A7C4418B446}" type="parTrans" cxnId="{4FEA03D2-1228-4EDF-9090-97A0B6BF7797}">
      <dgm:prSet/>
      <dgm:spPr/>
      <dgm:t>
        <a:bodyPr/>
        <a:lstStyle/>
        <a:p>
          <a:endParaRPr lang="en-US"/>
        </a:p>
      </dgm:t>
    </dgm:pt>
    <dgm:pt modelId="{ABB4469D-4D88-48E3-9282-440B1AA0420D}">
      <dgm:prSet/>
      <dgm:spPr/>
      <dgm:t>
        <a:bodyPr/>
        <a:lstStyle/>
        <a:p>
          <a:r>
            <a:rPr lang="en-US"/>
            <a:t>Split of Items (Files – Emails - Meetings)</a:t>
          </a:r>
        </a:p>
      </dgm:t>
    </dgm:pt>
    <dgm:pt modelId="{C63887FF-E50B-44EF-BE30-7B5D248AE02A}" type="sibTrans" cxnId="{E522B2F0-439B-4703-AE58-728A9FCF3856}">
      <dgm:prSet/>
      <dgm:spPr/>
      <dgm:t>
        <a:bodyPr/>
        <a:lstStyle/>
        <a:p>
          <a:endParaRPr lang="en-US"/>
        </a:p>
      </dgm:t>
    </dgm:pt>
    <dgm:pt modelId="{27AB4374-2BEA-458E-BAF5-DB6B515871E1}" type="parTrans" cxnId="{E522B2F0-439B-4703-AE58-728A9FCF3856}">
      <dgm:prSet/>
      <dgm:spPr/>
      <dgm:t>
        <a:bodyPr/>
        <a:lstStyle/>
        <a:p>
          <a:endParaRPr lang="en-US"/>
        </a:p>
      </dgm:t>
    </dgm:pt>
    <dgm:pt modelId="{2B23A82D-3AAD-4AC6-806E-A0EE8B7AEDF5}" type="pres">
      <dgm:prSet presAssocID="{CF7E41A6-4C40-4A56-80AC-A00C2294ECB1}" presName="diagram" presStyleCnt="0">
        <dgm:presLayoutVars>
          <dgm:dir/>
          <dgm:resizeHandles val="exact"/>
        </dgm:presLayoutVars>
      </dgm:prSet>
      <dgm:spPr/>
    </dgm:pt>
    <dgm:pt modelId="{3D857A47-C784-4825-8106-71CDB6559B8E}" type="pres">
      <dgm:prSet presAssocID="{356E252F-F3AE-4629-A045-2029B06FC603}" presName="node" presStyleLbl="node1" presStyleIdx="0" presStyleCnt="6">
        <dgm:presLayoutVars>
          <dgm:bulletEnabled val="1"/>
        </dgm:presLayoutVars>
      </dgm:prSet>
      <dgm:spPr/>
    </dgm:pt>
    <dgm:pt modelId="{27FB10D6-BF0B-46EF-BDCE-1C96D8C6D5B2}" type="pres">
      <dgm:prSet presAssocID="{DC7DB10F-020B-4367-841B-A80E4CF369C3}" presName="sibTrans" presStyleCnt="0"/>
      <dgm:spPr/>
    </dgm:pt>
    <dgm:pt modelId="{DF918112-8599-4245-8F9D-066F39D21447}" type="pres">
      <dgm:prSet presAssocID="{78C431FA-7443-48A6-B9C2-4D37B4EF299E}" presName="node" presStyleLbl="node1" presStyleIdx="1" presStyleCnt="6">
        <dgm:presLayoutVars>
          <dgm:bulletEnabled val="1"/>
        </dgm:presLayoutVars>
      </dgm:prSet>
      <dgm:spPr/>
    </dgm:pt>
    <dgm:pt modelId="{295F325B-BA42-4F52-8872-C78F662DD5F0}" type="pres">
      <dgm:prSet presAssocID="{ECD88B81-8503-41D1-991F-EF9D59995543}" presName="sibTrans" presStyleCnt="0"/>
      <dgm:spPr/>
    </dgm:pt>
    <dgm:pt modelId="{248537C9-5080-4F3F-8560-C03E07BCE8F2}" type="pres">
      <dgm:prSet presAssocID="{66F79B19-25A8-4F60-A764-0C481DF6B9E4}" presName="node" presStyleLbl="node1" presStyleIdx="2" presStyleCnt="6" custLinFactNeighborX="-543">
        <dgm:presLayoutVars>
          <dgm:bulletEnabled val="1"/>
        </dgm:presLayoutVars>
      </dgm:prSet>
      <dgm:spPr/>
    </dgm:pt>
    <dgm:pt modelId="{2BD61A79-2E62-4BE3-94F6-E12144A3EA65}" type="pres">
      <dgm:prSet presAssocID="{60606BBB-551A-4F01-BEC1-40330CF5ED31}" presName="sibTrans" presStyleCnt="0"/>
      <dgm:spPr/>
    </dgm:pt>
    <dgm:pt modelId="{A8125EF5-F9CC-4C3D-8051-ECF1EFB59064}" type="pres">
      <dgm:prSet presAssocID="{ABB4469D-4D88-48E3-9282-440B1AA0420D}" presName="node" presStyleLbl="node1" presStyleIdx="3" presStyleCnt="6">
        <dgm:presLayoutVars>
          <dgm:bulletEnabled val="1"/>
        </dgm:presLayoutVars>
      </dgm:prSet>
      <dgm:spPr/>
    </dgm:pt>
    <dgm:pt modelId="{D4E06888-0889-4159-B4D5-343802E0FF26}" type="pres">
      <dgm:prSet presAssocID="{C63887FF-E50B-44EF-BE30-7B5D248AE02A}" presName="sibTrans" presStyleCnt="0"/>
      <dgm:spPr/>
    </dgm:pt>
    <dgm:pt modelId="{77BE4CED-2C9A-4E7F-82B9-60A89FCABB5A}" type="pres">
      <dgm:prSet presAssocID="{B1585384-BC40-4BE9-A521-F6C1DBF9C926}" presName="node" presStyleLbl="node1" presStyleIdx="4" presStyleCnt="6">
        <dgm:presLayoutVars>
          <dgm:bulletEnabled val="1"/>
        </dgm:presLayoutVars>
      </dgm:prSet>
      <dgm:spPr/>
    </dgm:pt>
    <dgm:pt modelId="{E4559097-E051-460E-889C-6B99AA64CBBC}" type="pres">
      <dgm:prSet presAssocID="{F745503E-4BD5-48FC-A6C5-4C7B72FB483A}" presName="sibTrans" presStyleCnt="0"/>
      <dgm:spPr/>
    </dgm:pt>
    <dgm:pt modelId="{51446EEE-0E6F-41FC-9D53-ECE0C84FD6AF}" type="pres">
      <dgm:prSet presAssocID="{4D297D1B-DF77-45D1-B6C1-3BD4323AC228}" presName="node" presStyleLbl="node1" presStyleIdx="5" presStyleCnt="6">
        <dgm:presLayoutVars>
          <dgm:bulletEnabled val="1"/>
        </dgm:presLayoutVars>
      </dgm:prSet>
      <dgm:spPr/>
    </dgm:pt>
  </dgm:ptLst>
  <dgm:cxnLst>
    <dgm:cxn modelId="{AEDD410C-0D8F-4CED-9251-C130DB57BA93}" srcId="{CF7E41A6-4C40-4A56-80AC-A00C2294ECB1}" destId="{356E252F-F3AE-4629-A045-2029B06FC603}" srcOrd="0" destOrd="0" parTransId="{1E95A9EC-6AB7-4D7E-BED4-73680291F37A}" sibTransId="{DC7DB10F-020B-4367-841B-A80E4CF369C3}"/>
    <dgm:cxn modelId="{3D67A816-E63A-4C06-AC3F-DDCE002C590C}" srcId="{CF7E41A6-4C40-4A56-80AC-A00C2294ECB1}" destId="{4D297D1B-DF77-45D1-B6C1-3BD4323AC228}" srcOrd="5" destOrd="0" parTransId="{041E2EAE-2B69-4F1C-8FD7-102DD3CC1B50}" sibTransId="{EB0BC961-67BF-4AD6-9637-884D0F2FA6BA}"/>
    <dgm:cxn modelId="{BDD3CB24-C311-49EF-BADA-2AB4664062E6}" type="presOf" srcId="{B1585384-BC40-4BE9-A521-F6C1DBF9C926}" destId="{77BE4CED-2C9A-4E7F-82B9-60A89FCABB5A}" srcOrd="0" destOrd="0" presId="urn:microsoft.com/office/officeart/2005/8/layout/default"/>
    <dgm:cxn modelId="{45247147-F74B-4CD3-97BB-7189594A1C3D}" type="presOf" srcId="{66F79B19-25A8-4F60-A764-0C481DF6B9E4}" destId="{248537C9-5080-4F3F-8560-C03E07BCE8F2}" srcOrd="0" destOrd="0" presId="urn:microsoft.com/office/officeart/2005/8/layout/default"/>
    <dgm:cxn modelId="{F31CD26A-4A72-4D45-A3C3-CA24492FDC78}" type="presOf" srcId="{356E252F-F3AE-4629-A045-2029B06FC603}" destId="{3D857A47-C784-4825-8106-71CDB6559B8E}" srcOrd="0" destOrd="0" presId="urn:microsoft.com/office/officeart/2005/8/layout/default"/>
    <dgm:cxn modelId="{4FEA03D2-1228-4EDF-9090-97A0B6BF7797}" srcId="{CF7E41A6-4C40-4A56-80AC-A00C2294ECB1}" destId="{B1585384-BC40-4BE9-A521-F6C1DBF9C926}" srcOrd="4" destOrd="0" parTransId="{E054AB08-84B7-452D-AF25-3A7C4418B446}" sibTransId="{F745503E-4BD5-48FC-A6C5-4C7B72FB483A}"/>
    <dgm:cxn modelId="{F91468D4-C70E-4EE5-B09A-3F7C19D909A9}" type="presOf" srcId="{78C431FA-7443-48A6-B9C2-4D37B4EF299E}" destId="{DF918112-8599-4245-8F9D-066F39D21447}" srcOrd="0" destOrd="0" presId="urn:microsoft.com/office/officeart/2005/8/layout/default"/>
    <dgm:cxn modelId="{3F35A2DC-0CCF-4C46-89C1-4FA330FA493A}" type="presOf" srcId="{4D297D1B-DF77-45D1-B6C1-3BD4323AC228}" destId="{51446EEE-0E6F-41FC-9D53-ECE0C84FD6AF}" srcOrd="0" destOrd="0" presId="urn:microsoft.com/office/officeart/2005/8/layout/default"/>
    <dgm:cxn modelId="{0568AAE1-01FA-4739-8DE8-2DBA40F0866C}" srcId="{CF7E41A6-4C40-4A56-80AC-A00C2294ECB1}" destId="{66F79B19-25A8-4F60-A764-0C481DF6B9E4}" srcOrd="2" destOrd="0" parTransId="{77DFC209-DE70-4A19-9EB1-EF6CACA0AA8B}" sibTransId="{60606BBB-551A-4F01-BEC1-40330CF5ED31}"/>
    <dgm:cxn modelId="{F93F65E3-68FF-4E13-AA97-504F6B82B295}" srcId="{CF7E41A6-4C40-4A56-80AC-A00C2294ECB1}" destId="{78C431FA-7443-48A6-B9C2-4D37B4EF299E}" srcOrd="1" destOrd="0" parTransId="{9F8921BE-1579-4DF6-AE5E-7132A49B5A06}" sibTransId="{ECD88B81-8503-41D1-991F-EF9D59995543}"/>
    <dgm:cxn modelId="{8E9E1FE6-AD33-4675-9273-88798450E194}" type="presOf" srcId="{ABB4469D-4D88-48E3-9282-440B1AA0420D}" destId="{A8125EF5-F9CC-4C3D-8051-ECF1EFB59064}" srcOrd="0" destOrd="0" presId="urn:microsoft.com/office/officeart/2005/8/layout/default"/>
    <dgm:cxn modelId="{E522B2F0-439B-4703-AE58-728A9FCF3856}" srcId="{CF7E41A6-4C40-4A56-80AC-A00C2294ECB1}" destId="{ABB4469D-4D88-48E3-9282-440B1AA0420D}" srcOrd="3" destOrd="0" parTransId="{27AB4374-2BEA-458E-BAF5-DB6B515871E1}" sibTransId="{C63887FF-E50B-44EF-BE30-7B5D248AE02A}"/>
    <dgm:cxn modelId="{A53D82F8-2D58-41C4-97C6-FE6F751265D7}" type="presOf" srcId="{CF7E41A6-4C40-4A56-80AC-A00C2294ECB1}" destId="{2B23A82D-3AAD-4AC6-806E-A0EE8B7AEDF5}" srcOrd="0" destOrd="0" presId="urn:microsoft.com/office/officeart/2005/8/layout/default"/>
    <dgm:cxn modelId="{6084937B-5DBE-4187-89A3-C1E107B1BD7C}" type="presParOf" srcId="{2B23A82D-3AAD-4AC6-806E-A0EE8B7AEDF5}" destId="{3D857A47-C784-4825-8106-71CDB6559B8E}" srcOrd="0" destOrd="0" presId="urn:microsoft.com/office/officeart/2005/8/layout/default"/>
    <dgm:cxn modelId="{96237ACA-41DF-4D11-9661-A32E500EC9C0}" type="presParOf" srcId="{2B23A82D-3AAD-4AC6-806E-A0EE8B7AEDF5}" destId="{27FB10D6-BF0B-46EF-BDCE-1C96D8C6D5B2}" srcOrd="1" destOrd="0" presId="urn:microsoft.com/office/officeart/2005/8/layout/default"/>
    <dgm:cxn modelId="{AA9DBE48-F503-44F8-8725-7A71A6B31D79}" type="presParOf" srcId="{2B23A82D-3AAD-4AC6-806E-A0EE8B7AEDF5}" destId="{DF918112-8599-4245-8F9D-066F39D21447}" srcOrd="2" destOrd="0" presId="urn:microsoft.com/office/officeart/2005/8/layout/default"/>
    <dgm:cxn modelId="{B09E927F-62C9-4648-BCED-FF05FF96BC74}" type="presParOf" srcId="{2B23A82D-3AAD-4AC6-806E-A0EE8B7AEDF5}" destId="{295F325B-BA42-4F52-8872-C78F662DD5F0}" srcOrd="3" destOrd="0" presId="urn:microsoft.com/office/officeart/2005/8/layout/default"/>
    <dgm:cxn modelId="{439DFCFA-43BF-4B00-9850-1B1E01F73C96}" type="presParOf" srcId="{2B23A82D-3AAD-4AC6-806E-A0EE8B7AEDF5}" destId="{248537C9-5080-4F3F-8560-C03E07BCE8F2}" srcOrd="4" destOrd="0" presId="urn:microsoft.com/office/officeart/2005/8/layout/default"/>
    <dgm:cxn modelId="{65952694-99E1-4D2C-867E-E6AF0BFE30F8}" type="presParOf" srcId="{2B23A82D-3AAD-4AC6-806E-A0EE8B7AEDF5}" destId="{2BD61A79-2E62-4BE3-94F6-E12144A3EA65}" srcOrd="5" destOrd="0" presId="urn:microsoft.com/office/officeart/2005/8/layout/default"/>
    <dgm:cxn modelId="{1A07C1F2-77AE-4E95-8206-8AA2F0093CC9}" type="presParOf" srcId="{2B23A82D-3AAD-4AC6-806E-A0EE8B7AEDF5}" destId="{A8125EF5-F9CC-4C3D-8051-ECF1EFB59064}" srcOrd="6" destOrd="0" presId="urn:microsoft.com/office/officeart/2005/8/layout/default"/>
    <dgm:cxn modelId="{EC1F97CE-DE0C-484C-9D0E-776C2ED22848}" type="presParOf" srcId="{2B23A82D-3AAD-4AC6-806E-A0EE8B7AEDF5}" destId="{D4E06888-0889-4159-B4D5-343802E0FF26}" srcOrd="7" destOrd="0" presId="urn:microsoft.com/office/officeart/2005/8/layout/default"/>
    <dgm:cxn modelId="{6ABB2568-1344-4F9B-8025-4472764BDE3D}" type="presParOf" srcId="{2B23A82D-3AAD-4AC6-806E-A0EE8B7AEDF5}" destId="{77BE4CED-2C9A-4E7F-82B9-60A89FCABB5A}" srcOrd="8" destOrd="0" presId="urn:microsoft.com/office/officeart/2005/8/layout/default"/>
    <dgm:cxn modelId="{E95A1865-F3D9-45F2-9CD0-EED741C37A80}" type="presParOf" srcId="{2B23A82D-3AAD-4AC6-806E-A0EE8B7AEDF5}" destId="{E4559097-E051-460E-889C-6B99AA64CBBC}" srcOrd="9" destOrd="0" presId="urn:microsoft.com/office/officeart/2005/8/layout/default"/>
    <dgm:cxn modelId="{748EF5CF-9A55-4F48-9C63-7FFF1E10FBC5}" type="presParOf" srcId="{2B23A82D-3AAD-4AC6-806E-A0EE8B7AEDF5}" destId="{51446EEE-0E6F-41FC-9D53-ECE0C84FD6AF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8F3A0F-2A22-4A46-A74A-2A0216C0215C}">
      <dsp:nvSpPr>
        <dsp:cNvPr id="0" name=""/>
        <dsp:cNvSpPr/>
      </dsp:nvSpPr>
      <dsp:spPr>
        <a:xfrm>
          <a:off x="3114" y="576301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Default label</a:t>
          </a:r>
        </a:p>
      </dsp:txBody>
      <dsp:txXfrm>
        <a:off x="3114" y="576301"/>
        <a:ext cx="2470679" cy="1482407"/>
      </dsp:txXfrm>
    </dsp:sp>
    <dsp:sp modelId="{F8FAB587-D71F-455D-A7FD-3A0BAA06D7A0}">
      <dsp:nvSpPr>
        <dsp:cNvPr id="0" name=""/>
        <dsp:cNvSpPr/>
      </dsp:nvSpPr>
      <dsp:spPr>
        <a:xfrm>
          <a:off x="2720862" y="561789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Label inheritance</a:t>
          </a:r>
        </a:p>
      </dsp:txBody>
      <dsp:txXfrm>
        <a:off x="2720862" y="561789"/>
        <a:ext cx="2470679" cy="1482407"/>
      </dsp:txXfrm>
    </dsp:sp>
    <dsp:sp modelId="{81168A88-ADC5-476E-AA65-3E2E9ACE63F0}">
      <dsp:nvSpPr>
        <dsp:cNvPr id="0" name=""/>
        <dsp:cNvSpPr/>
      </dsp:nvSpPr>
      <dsp:spPr>
        <a:xfrm>
          <a:off x="5438609" y="561789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Super User</a:t>
          </a:r>
        </a:p>
      </dsp:txBody>
      <dsp:txXfrm>
        <a:off x="5438609" y="561789"/>
        <a:ext cx="2470679" cy="1482407"/>
      </dsp:txXfrm>
    </dsp:sp>
    <dsp:sp modelId="{E70A600E-92C1-40B2-8793-F613631D4BC7}">
      <dsp:nvSpPr>
        <dsp:cNvPr id="0" name=""/>
        <dsp:cNvSpPr/>
      </dsp:nvSpPr>
      <dsp:spPr>
        <a:xfrm>
          <a:off x="8156357" y="561789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Auto-labeling: 2 flavors</a:t>
          </a:r>
        </a:p>
      </dsp:txBody>
      <dsp:txXfrm>
        <a:off x="8156357" y="561789"/>
        <a:ext cx="2470679" cy="1482407"/>
      </dsp:txXfrm>
    </dsp:sp>
    <dsp:sp modelId="{D4E58840-2EEF-4F1E-A2AD-0BE3EBE96C5D}">
      <dsp:nvSpPr>
        <dsp:cNvPr id="0" name=""/>
        <dsp:cNvSpPr/>
      </dsp:nvSpPr>
      <dsp:spPr>
        <a:xfrm>
          <a:off x="3114" y="2291264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OME/AME vs Labels</a:t>
          </a:r>
        </a:p>
      </dsp:txBody>
      <dsp:txXfrm>
        <a:off x="3114" y="2291264"/>
        <a:ext cx="2470679" cy="1482407"/>
      </dsp:txXfrm>
    </dsp:sp>
    <dsp:sp modelId="{9F00C6B1-DEFE-4910-AD40-0F5FAF976F6A}">
      <dsp:nvSpPr>
        <dsp:cNvPr id="0" name=""/>
        <dsp:cNvSpPr/>
      </dsp:nvSpPr>
      <dsp:spPr>
        <a:xfrm>
          <a:off x="2720862" y="2291264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Verify policy changes</a:t>
          </a:r>
        </a:p>
      </dsp:txBody>
      <dsp:txXfrm>
        <a:off x="2720862" y="2291264"/>
        <a:ext cx="2470679" cy="1482407"/>
      </dsp:txXfrm>
    </dsp:sp>
    <dsp:sp modelId="{F2E2CE04-92AF-453D-8B93-056B76FD5F78}">
      <dsp:nvSpPr>
        <dsp:cNvPr id="0" name=""/>
        <dsp:cNvSpPr/>
      </dsp:nvSpPr>
      <dsp:spPr>
        <a:xfrm>
          <a:off x="5438609" y="2291264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Test on all platforms</a:t>
          </a:r>
        </a:p>
      </dsp:txBody>
      <dsp:txXfrm>
        <a:off x="5438609" y="2291264"/>
        <a:ext cx="2470679" cy="1482407"/>
      </dsp:txXfrm>
    </dsp:sp>
    <dsp:sp modelId="{FEE0AE58-5456-4D94-AC5B-10A059332C6F}">
      <dsp:nvSpPr>
        <dsp:cNvPr id="0" name=""/>
        <dsp:cNvSpPr/>
      </dsp:nvSpPr>
      <dsp:spPr>
        <a:xfrm>
          <a:off x="8156357" y="2291264"/>
          <a:ext cx="2470679" cy="14824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Adoption is key</a:t>
          </a:r>
        </a:p>
      </dsp:txBody>
      <dsp:txXfrm>
        <a:off x="8156357" y="2291264"/>
        <a:ext cx="2470679" cy="14824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857A47-C784-4825-8106-71CDB6559B8E}">
      <dsp:nvSpPr>
        <dsp:cNvPr id="0" name=""/>
        <dsp:cNvSpPr/>
      </dsp:nvSpPr>
      <dsp:spPr>
        <a:xfrm>
          <a:off x="0" y="849792"/>
          <a:ext cx="2451270" cy="14707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loring scheme</a:t>
          </a:r>
        </a:p>
      </dsp:txBody>
      <dsp:txXfrm>
        <a:off x="0" y="849792"/>
        <a:ext cx="2451270" cy="1470762"/>
      </dsp:txXfrm>
    </dsp:sp>
    <dsp:sp modelId="{DF918112-8599-4245-8F9D-066F39D21447}">
      <dsp:nvSpPr>
        <dsp:cNvPr id="0" name=""/>
        <dsp:cNvSpPr/>
      </dsp:nvSpPr>
      <dsp:spPr>
        <a:xfrm>
          <a:off x="2696398" y="849792"/>
          <a:ext cx="2451270" cy="14707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nformation Bar</a:t>
          </a:r>
        </a:p>
      </dsp:txBody>
      <dsp:txXfrm>
        <a:off x="2696398" y="849792"/>
        <a:ext cx="2451270" cy="1470762"/>
      </dsp:txXfrm>
    </dsp:sp>
    <dsp:sp modelId="{248537C9-5080-4F3F-8560-C03E07BCE8F2}">
      <dsp:nvSpPr>
        <dsp:cNvPr id="0" name=""/>
        <dsp:cNvSpPr/>
      </dsp:nvSpPr>
      <dsp:spPr>
        <a:xfrm>
          <a:off x="5379485" y="849792"/>
          <a:ext cx="2451270" cy="14707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Labels visible in SPO sharing dialog box</a:t>
          </a:r>
        </a:p>
      </dsp:txBody>
      <dsp:txXfrm>
        <a:off x="5379485" y="849792"/>
        <a:ext cx="2451270" cy="1470762"/>
      </dsp:txXfrm>
    </dsp:sp>
    <dsp:sp modelId="{A8125EF5-F9CC-4C3D-8051-ECF1EFB59064}">
      <dsp:nvSpPr>
        <dsp:cNvPr id="0" name=""/>
        <dsp:cNvSpPr/>
      </dsp:nvSpPr>
      <dsp:spPr>
        <a:xfrm>
          <a:off x="0" y="2565682"/>
          <a:ext cx="2451270" cy="14707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Split of Items (Files – Emails - Meetings)</a:t>
          </a:r>
        </a:p>
      </dsp:txBody>
      <dsp:txXfrm>
        <a:off x="0" y="2565682"/>
        <a:ext cx="2451270" cy="1470762"/>
      </dsp:txXfrm>
    </dsp:sp>
    <dsp:sp modelId="{77BE4CED-2C9A-4E7F-82B9-60A89FCABB5A}">
      <dsp:nvSpPr>
        <dsp:cNvPr id="0" name=""/>
        <dsp:cNvSpPr/>
      </dsp:nvSpPr>
      <dsp:spPr>
        <a:xfrm>
          <a:off x="2696398" y="2565682"/>
          <a:ext cx="2451270" cy="14707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Teams Premium – Meetings and Calendar Events</a:t>
          </a:r>
        </a:p>
      </dsp:txBody>
      <dsp:txXfrm>
        <a:off x="2696398" y="2565682"/>
        <a:ext cx="2451270" cy="1470762"/>
      </dsp:txXfrm>
    </dsp:sp>
    <dsp:sp modelId="{51446EEE-0E6F-41FC-9D53-ECE0C84FD6AF}">
      <dsp:nvSpPr>
        <dsp:cNvPr id="0" name=""/>
        <dsp:cNvSpPr/>
      </dsp:nvSpPr>
      <dsp:spPr>
        <a:xfrm>
          <a:off x="5392796" y="2565682"/>
          <a:ext cx="2451270" cy="14707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Encryption algorithm changes</a:t>
          </a:r>
        </a:p>
      </dsp:txBody>
      <dsp:txXfrm>
        <a:off x="5392796" y="2565682"/>
        <a:ext cx="2451270" cy="14707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0093B3F-65F3-413B-9169-6EFC295BD65E}" type="datetimeFigureOut">
              <a:rPr lang="nl-NL" smtClean="0"/>
              <a:t>28-6-2023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7D410AB-D087-4E39-944B-2C5B64F7E6C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9602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7381A9-0C9E-4D3A-A28B-AC4E168A57BC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493062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00245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952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86263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659837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45383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58192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83816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3237">
              <a:defRPr/>
            </a:pPr>
            <a:fld id="{B4C78CE5-4209-42BE-8E96-404AB1F8AB63}" type="slidenum">
              <a:rPr lang="nl-NL">
                <a:solidFill>
                  <a:prstClr val="black"/>
                </a:solidFill>
                <a:latin typeface="Calibri" panose="020F0502020204030204"/>
              </a:rPr>
              <a:pPr defTabSz="933237">
                <a:defRPr/>
              </a:pPr>
              <a:t>17</a:t>
            </a:fld>
            <a:endParaRPr lang="nl-N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069319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7381A9-0C9E-4D3A-A28B-AC4E168A57BC}" type="slidenum">
              <a:rPr lang="nl-NL" smtClean="0"/>
              <a:pPr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584609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7640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499675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799249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17800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264417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81524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965904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36549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7092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37">
              <a:defRPr/>
            </a:pPr>
            <a:fld id="{94C5907C-D3F9-4A36-92CC-ED44E564CD6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3237">
                <a:defRPr/>
              </a:pPr>
              <a:t>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6954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defTabSz="933203">
              <a:lnSpc>
                <a:spcPct val="90000"/>
              </a:lnSpc>
              <a:spcAft>
                <a:spcPts val="340"/>
              </a:spcAft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933203">
              <a:defRPr/>
            </a:pPr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defTabSz="932929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933203">
              <a:defRPr/>
            </a:pPr>
            <a:fld id="{386CE63F-9E7F-4C04-9D0D-FCA25A8E9E86}" type="datetime8">
              <a:rPr lang="en-US">
                <a:solidFill>
                  <a:prstClr val="black"/>
                </a:solidFill>
                <a:latin typeface="Segoe UI" pitchFamily="34" charset="0"/>
              </a:rPr>
              <a:pPr defTabSz="933203">
                <a:defRPr/>
              </a:pPr>
              <a:t>6/28/2023 9:32 AM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3203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Segoe UI" pitchFamily="34" charset="0"/>
              </a:rPr>
              <a:pPr defTabSz="933203">
                <a:defRPr/>
              </a:pPr>
              <a:t>5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206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defTabSz="933203">
              <a:lnSpc>
                <a:spcPct val="90000"/>
              </a:lnSpc>
              <a:spcAft>
                <a:spcPts val="340"/>
              </a:spcAft>
              <a:defRPr/>
            </a:pPr>
            <a:endParaRPr lang="en-US" sz="1200" b="1" u="sn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933203">
              <a:defRPr/>
            </a:pPr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defTabSz="932929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933203">
              <a:defRPr/>
            </a:pPr>
            <a:fld id="{386CE63F-9E7F-4C04-9D0D-FCA25A8E9E86}" type="datetime8">
              <a:rPr lang="en-US">
                <a:solidFill>
                  <a:prstClr val="black"/>
                </a:solidFill>
                <a:latin typeface="Segoe UI" pitchFamily="34" charset="0"/>
              </a:rPr>
              <a:pPr defTabSz="933203">
                <a:defRPr/>
              </a:pPr>
              <a:t>6/28/2023 9:32 AM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3203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Segoe UI" pitchFamily="34" charset="0"/>
              </a:rPr>
              <a:pPr defTabSz="933203">
                <a:defRPr/>
              </a:pPr>
              <a:t>6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685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3237">
              <a:defRPr/>
            </a:pPr>
            <a:fld id="{B4C78CE5-4209-42BE-8E96-404AB1F8AB63}" type="slidenum">
              <a:rPr lang="nl-NL">
                <a:solidFill>
                  <a:prstClr val="black"/>
                </a:solidFill>
                <a:latin typeface="Calibri" panose="020F0502020204030204"/>
              </a:rPr>
              <a:pPr defTabSz="933237">
                <a:defRPr/>
              </a:pPr>
              <a:t>7</a:t>
            </a:fld>
            <a:endParaRPr lang="nl-N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56326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b="0" i="0" dirty="0">
              <a:solidFill>
                <a:srgbClr val="E6E6E6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58689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410AB-D087-4E39-944B-2C5B64F7E6CE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23312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6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4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0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1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4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s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7"/>
          <p:cNvSpPr>
            <a:spLocks noGrp="1" noSelect="1"/>
          </p:cNvSpPr>
          <p:nvPr>
            <p:ph type="pic" sz="quarter" idx="14" hasCustomPrompt="1"/>
          </p:nvPr>
        </p:nvSpPr>
        <p:spPr bwMode="gray">
          <a:xfrm>
            <a:off x="0" y="0"/>
            <a:ext cx="6858000" cy="6858000"/>
          </a:xfrm>
        </p:spPr>
        <p:txBody>
          <a:bodyPr/>
          <a:lstStyle>
            <a:lvl1pPr marL="0" indent="0">
              <a:buNone/>
              <a:defRPr baseline="0">
                <a:sym typeface="Wingdings" panose="05000000000000000000" pitchFamily="2" charset="2"/>
              </a:defRPr>
            </a:lvl1pPr>
          </a:lstStyle>
          <a:p>
            <a:r>
              <a:rPr lang="nl-NL"/>
              <a:t>[Afbeelding toevoegen: Via </a:t>
            </a:r>
            <a:r>
              <a:rPr lang="nl-NL" err="1"/>
              <a:t>InvoegenAfbeelding</a:t>
            </a:r>
            <a:r>
              <a:rPr lang="nl-NL"/>
              <a:t>]</a:t>
            </a:r>
          </a:p>
        </p:txBody>
      </p:sp>
      <p:sp>
        <p:nvSpPr>
          <p:cNvPr id="15" name="Trans (PHJU)">
            <a:extLst>
              <a:ext uri="{FF2B5EF4-FFF2-40B4-BE49-F238E27FC236}">
                <a16:creationId xmlns:a16="http://schemas.microsoft.com/office/drawing/2014/main" id="{0115AE6C-22F3-4CCC-916B-55732692F34A}"/>
              </a:ext>
            </a:extLst>
          </p:cNvPr>
          <p:cNvSpPr>
            <a:spLocks noGrp="1" noSelect="1"/>
          </p:cNvSpPr>
          <p:nvPr userDrawn="1">
            <p:ph type="body" idx="1004" hasCustomPrompt="1"/>
            <p:custDataLst>
              <p:custData r:id="rId1"/>
            </p:custDataLst>
          </p:nvPr>
        </p:nvSpPr>
        <p:spPr bwMode="auto">
          <a:xfrm>
            <a:off x="-1392832" y="-1647564"/>
            <a:ext cx="10544175" cy="10544176"/>
          </a:xfrm>
          <a:custGeom>
            <a:avLst/>
            <a:gdLst>
              <a:gd name="connsiteX0" fmla="*/ 5228050 w 10544175"/>
              <a:gd name="connsiteY0" fmla="*/ 5151548 h 10544176"/>
              <a:gd name="connsiteX1" fmla="*/ 5230813 w 10544175"/>
              <a:gd name="connsiteY1" fmla="*/ 5159134 h 10544176"/>
              <a:gd name="connsiteX2" fmla="*/ 5229519 w 10544175"/>
              <a:gd name="connsiteY2" fmla="*/ 5155582 h 10544176"/>
              <a:gd name="connsiteX3" fmla="*/ 5207917 w 10544175"/>
              <a:gd name="connsiteY3" fmla="*/ 5096290 h 10544176"/>
              <a:gd name="connsiteX4" fmla="*/ 5210592 w 10544175"/>
              <a:gd name="connsiteY4" fmla="*/ 5103631 h 10544176"/>
              <a:gd name="connsiteX5" fmla="*/ 5226445 w 10544175"/>
              <a:gd name="connsiteY5" fmla="*/ 5147145 h 10544176"/>
              <a:gd name="connsiteX6" fmla="*/ 5228050 w 10544175"/>
              <a:gd name="connsiteY6" fmla="*/ 5151548 h 10544176"/>
              <a:gd name="connsiteX7" fmla="*/ 4986830 w 10544175"/>
              <a:gd name="connsiteY7" fmla="*/ 4489459 h 10544176"/>
              <a:gd name="connsiteX8" fmla="*/ 5012098 w 10544175"/>
              <a:gd name="connsiteY8" fmla="*/ 4558815 h 10544176"/>
              <a:gd name="connsiteX9" fmla="*/ 5170614 w 10544175"/>
              <a:gd name="connsiteY9" fmla="*/ 4993902 h 10544176"/>
              <a:gd name="connsiteX10" fmla="*/ 5207917 w 10544175"/>
              <a:gd name="connsiteY10" fmla="*/ 5096290 h 10544176"/>
              <a:gd name="connsiteX11" fmla="*/ 5195871 w 10544175"/>
              <a:gd name="connsiteY11" fmla="*/ 5063225 h 10544176"/>
              <a:gd name="connsiteX12" fmla="*/ 5015496 w 10544175"/>
              <a:gd name="connsiteY12" fmla="*/ 4568140 h 10544176"/>
              <a:gd name="connsiteX13" fmla="*/ 4812181 w 10544175"/>
              <a:gd name="connsiteY13" fmla="*/ 4010092 h 10544176"/>
              <a:gd name="connsiteX14" fmla="*/ 4832795 w 10544175"/>
              <a:gd name="connsiteY14" fmla="*/ 4066672 h 10544176"/>
              <a:gd name="connsiteX15" fmla="*/ 4984779 w 10544175"/>
              <a:gd name="connsiteY15" fmla="*/ 4483831 h 10544176"/>
              <a:gd name="connsiteX16" fmla="*/ 4986830 w 10544175"/>
              <a:gd name="connsiteY16" fmla="*/ 4489459 h 10544176"/>
              <a:gd name="connsiteX17" fmla="*/ 4966216 w 10544175"/>
              <a:gd name="connsiteY17" fmla="*/ 4432879 h 10544176"/>
              <a:gd name="connsiteX18" fmla="*/ 4814232 w 10544175"/>
              <a:gd name="connsiteY18" fmla="*/ 4015720 h 10544176"/>
              <a:gd name="connsiteX19" fmla="*/ 4591094 w 10544175"/>
              <a:gd name="connsiteY19" fmla="*/ 3403262 h 10544176"/>
              <a:gd name="connsiteX20" fmla="*/ 4603140 w 10544175"/>
              <a:gd name="connsiteY20" fmla="*/ 3436327 h 10544176"/>
              <a:gd name="connsiteX21" fmla="*/ 4783516 w 10544175"/>
              <a:gd name="connsiteY21" fmla="*/ 3931412 h 10544176"/>
              <a:gd name="connsiteX22" fmla="*/ 4812181 w 10544175"/>
              <a:gd name="connsiteY22" fmla="*/ 4010092 h 10544176"/>
              <a:gd name="connsiteX23" fmla="*/ 4786913 w 10544175"/>
              <a:gd name="connsiteY23" fmla="*/ 3940736 h 10544176"/>
              <a:gd name="connsiteX24" fmla="*/ 4628397 w 10544175"/>
              <a:gd name="connsiteY24" fmla="*/ 3505649 h 10544176"/>
              <a:gd name="connsiteX25" fmla="*/ 4570961 w 10544175"/>
              <a:gd name="connsiteY25" fmla="*/ 3348003 h 10544176"/>
              <a:gd name="connsiteX26" fmla="*/ 4591094 w 10544175"/>
              <a:gd name="connsiteY26" fmla="*/ 3403262 h 10544176"/>
              <a:gd name="connsiteX27" fmla="*/ 4588419 w 10544175"/>
              <a:gd name="connsiteY27" fmla="*/ 3395920 h 10544176"/>
              <a:gd name="connsiteX28" fmla="*/ 4572566 w 10544175"/>
              <a:gd name="connsiteY28" fmla="*/ 3352406 h 10544176"/>
              <a:gd name="connsiteX29" fmla="*/ 4568198 w 10544175"/>
              <a:gd name="connsiteY29" fmla="*/ 3340418 h 10544176"/>
              <a:gd name="connsiteX30" fmla="*/ 4569492 w 10544175"/>
              <a:gd name="connsiteY30" fmla="*/ 3343970 h 10544176"/>
              <a:gd name="connsiteX31" fmla="*/ 4570961 w 10544175"/>
              <a:gd name="connsiteY31" fmla="*/ 3348003 h 10544176"/>
              <a:gd name="connsiteX32" fmla="*/ 4568832 w 10544175"/>
              <a:gd name="connsiteY32" fmla="*/ 3340100 h 10544176"/>
              <a:gd name="connsiteX33" fmla="*/ 2636838 w 10544175"/>
              <a:gd name="connsiteY33" fmla="*/ 4043024 h 10544176"/>
              <a:gd name="connsiteX34" fmla="*/ 3340074 w 10544175"/>
              <a:gd name="connsiteY34" fmla="*/ 5975350 h 10544176"/>
              <a:gd name="connsiteX35" fmla="*/ 5120060 w 10544175"/>
              <a:gd name="connsiteY35" fmla="*/ 5327327 h 10544176"/>
              <a:gd name="connsiteX36" fmla="*/ 5158776 w 10544175"/>
              <a:gd name="connsiteY36" fmla="*/ 5313364 h 10544176"/>
              <a:gd name="connsiteX37" fmla="*/ 5230813 w 10544175"/>
              <a:gd name="connsiteY37" fmla="*/ 5159134 h 10544176"/>
              <a:gd name="connsiteX38" fmla="*/ 4568832 w 10544175"/>
              <a:gd name="connsiteY38" fmla="*/ 3340100 h 10544176"/>
              <a:gd name="connsiteX39" fmla="*/ 7731125 w 10544175"/>
              <a:gd name="connsiteY39" fmla="*/ 0 h 10544176"/>
              <a:gd name="connsiteX40" fmla="*/ 8434388 w 10544175"/>
              <a:gd name="connsiteY40" fmla="*/ 1931988 h 10544176"/>
              <a:gd name="connsiteX41" fmla="*/ 9137650 w 10544175"/>
              <a:gd name="connsiteY41" fmla="*/ 3865563 h 10544176"/>
              <a:gd name="connsiteX42" fmla="*/ 9840912 w 10544175"/>
              <a:gd name="connsiteY42" fmla="*/ 5797551 h 10544176"/>
              <a:gd name="connsiteX43" fmla="*/ 10544175 w 10544175"/>
              <a:gd name="connsiteY43" fmla="*/ 7731126 h 10544176"/>
              <a:gd name="connsiteX44" fmla="*/ 8612188 w 10544175"/>
              <a:gd name="connsiteY44" fmla="*/ 8434388 h 10544176"/>
              <a:gd name="connsiteX45" fmla="*/ 6688138 w 10544175"/>
              <a:gd name="connsiteY45" fmla="*/ 9134476 h 10544176"/>
              <a:gd name="connsiteX46" fmla="*/ 6669088 w 10544175"/>
              <a:gd name="connsiteY46" fmla="*/ 9140826 h 10544176"/>
              <a:gd name="connsiteX47" fmla="*/ 4746625 w 10544175"/>
              <a:gd name="connsiteY47" fmla="*/ 9840913 h 10544176"/>
              <a:gd name="connsiteX48" fmla="*/ 2814638 w 10544175"/>
              <a:gd name="connsiteY48" fmla="*/ 10544176 h 10544176"/>
              <a:gd name="connsiteX49" fmla="*/ 2109788 w 10544175"/>
              <a:gd name="connsiteY49" fmla="*/ 8610601 h 10544176"/>
              <a:gd name="connsiteX50" fmla="*/ 1411288 w 10544175"/>
              <a:gd name="connsiteY50" fmla="*/ 6688138 h 10544176"/>
              <a:gd name="connsiteX51" fmla="*/ 1403350 w 10544175"/>
              <a:gd name="connsiteY51" fmla="*/ 6669088 h 10544176"/>
              <a:gd name="connsiteX52" fmla="*/ 703263 w 10544175"/>
              <a:gd name="connsiteY52" fmla="*/ 4746626 h 10544176"/>
              <a:gd name="connsiteX53" fmla="*/ 0 w 10544175"/>
              <a:gd name="connsiteY53" fmla="*/ 2813050 h 10544176"/>
              <a:gd name="connsiteX54" fmla="*/ 1924050 w 10544175"/>
              <a:gd name="connsiteY54" fmla="*/ 2112963 h 10544176"/>
              <a:gd name="connsiteX55" fmla="*/ 1941513 w 10544175"/>
              <a:gd name="connsiteY55" fmla="*/ 2106613 h 10544176"/>
              <a:gd name="connsiteX56" fmla="*/ 3865563 w 10544175"/>
              <a:gd name="connsiteY56" fmla="*/ 1406525 h 10544176"/>
              <a:gd name="connsiteX57" fmla="*/ 5797550 w 10544175"/>
              <a:gd name="connsiteY57" fmla="*/ 703263 h 10544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0544175" h="10544176">
                <a:moveTo>
                  <a:pt x="5228050" y="5151548"/>
                </a:moveTo>
                <a:lnTo>
                  <a:pt x="5230813" y="5159134"/>
                </a:lnTo>
                <a:cubicBezTo>
                  <a:pt x="5230813" y="5159134"/>
                  <a:pt x="5230813" y="5159134"/>
                  <a:pt x="5229519" y="5155582"/>
                </a:cubicBezTo>
                <a:close/>
                <a:moveTo>
                  <a:pt x="5207917" y="5096290"/>
                </a:moveTo>
                <a:lnTo>
                  <a:pt x="5210592" y="5103631"/>
                </a:lnTo>
                <a:cubicBezTo>
                  <a:pt x="5218680" y="5125832"/>
                  <a:pt x="5223534" y="5139153"/>
                  <a:pt x="5226445" y="5147145"/>
                </a:cubicBezTo>
                <a:lnTo>
                  <a:pt x="5228050" y="5151548"/>
                </a:lnTo>
                <a:close/>
                <a:moveTo>
                  <a:pt x="4986830" y="4489459"/>
                </a:moveTo>
                <a:lnTo>
                  <a:pt x="5012098" y="4558815"/>
                </a:lnTo>
                <a:cubicBezTo>
                  <a:pt x="5059659" y="4689358"/>
                  <a:pt x="5112316" y="4833887"/>
                  <a:pt x="5170614" y="4993902"/>
                </a:cubicBezTo>
                <a:lnTo>
                  <a:pt x="5207917" y="5096290"/>
                </a:lnTo>
                <a:lnTo>
                  <a:pt x="5195871" y="5063225"/>
                </a:lnTo>
                <a:cubicBezTo>
                  <a:pt x="5166752" y="4983301"/>
                  <a:pt x="5113367" y="4836773"/>
                  <a:pt x="5015496" y="4568140"/>
                </a:cubicBezTo>
                <a:close/>
                <a:moveTo>
                  <a:pt x="4812181" y="4010092"/>
                </a:moveTo>
                <a:lnTo>
                  <a:pt x="4832795" y="4066672"/>
                </a:lnTo>
                <a:cubicBezTo>
                  <a:pt x="4891761" y="4228518"/>
                  <a:pt x="4941991" y="4366387"/>
                  <a:pt x="4984779" y="4483831"/>
                </a:cubicBezTo>
                <a:lnTo>
                  <a:pt x="4986830" y="4489459"/>
                </a:lnTo>
                <a:lnTo>
                  <a:pt x="4966216" y="4432879"/>
                </a:lnTo>
                <a:cubicBezTo>
                  <a:pt x="4907250" y="4271033"/>
                  <a:pt x="4857020" y="4133164"/>
                  <a:pt x="4814232" y="4015720"/>
                </a:cubicBezTo>
                <a:close/>
                <a:moveTo>
                  <a:pt x="4591094" y="3403262"/>
                </a:moveTo>
                <a:lnTo>
                  <a:pt x="4603140" y="3436327"/>
                </a:lnTo>
                <a:cubicBezTo>
                  <a:pt x="4632259" y="3516251"/>
                  <a:pt x="4685644" y="3662778"/>
                  <a:pt x="4783516" y="3931412"/>
                </a:cubicBezTo>
                <a:lnTo>
                  <a:pt x="4812181" y="4010092"/>
                </a:lnTo>
                <a:lnTo>
                  <a:pt x="4786913" y="3940736"/>
                </a:lnTo>
                <a:cubicBezTo>
                  <a:pt x="4739352" y="3810193"/>
                  <a:pt x="4686695" y="3665664"/>
                  <a:pt x="4628397" y="3505649"/>
                </a:cubicBezTo>
                <a:close/>
                <a:moveTo>
                  <a:pt x="4570961" y="3348003"/>
                </a:moveTo>
                <a:lnTo>
                  <a:pt x="4591094" y="3403262"/>
                </a:lnTo>
                <a:lnTo>
                  <a:pt x="4588419" y="3395920"/>
                </a:lnTo>
                <a:cubicBezTo>
                  <a:pt x="4580331" y="3373719"/>
                  <a:pt x="4575478" y="3360399"/>
                  <a:pt x="4572566" y="3352406"/>
                </a:cubicBezTo>
                <a:close/>
                <a:moveTo>
                  <a:pt x="4568198" y="3340418"/>
                </a:moveTo>
                <a:cubicBezTo>
                  <a:pt x="4568198" y="3340418"/>
                  <a:pt x="4568198" y="3340418"/>
                  <a:pt x="4569492" y="3343970"/>
                </a:cubicBezTo>
                <a:lnTo>
                  <a:pt x="4570961" y="3348003"/>
                </a:lnTo>
                <a:close/>
                <a:moveTo>
                  <a:pt x="4568832" y="3340100"/>
                </a:moveTo>
                <a:cubicBezTo>
                  <a:pt x="2636838" y="4043024"/>
                  <a:pt x="2636838" y="4043024"/>
                  <a:pt x="2636838" y="4043024"/>
                </a:cubicBezTo>
                <a:cubicBezTo>
                  <a:pt x="3340074" y="5975350"/>
                  <a:pt x="3340074" y="5975350"/>
                  <a:pt x="3340074" y="5975350"/>
                </a:cubicBezTo>
                <a:cubicBezTo>
                  <a:pt x="5120060" y="5327327"/>
                  <a:pt x="5120060" y="5327327"/>
                  <a:pt x="5120060" y="5327327"/>
                </a:cubicBezTo>
                <a:cubicBezTo>
                  <a:pt x="5158776" y="5313364"/>
                  <a:pt x="5158776" y="5313364"/>
                  <a:pt x="5158776" y="5313364"/>
                </a:cubicBezTo>
                <a:cubicBezTo>
                  <a:pt x="5136245" y="5250847"/>
                  <a:pt x="5168296" y="5181665"/>
                  <a:pt x="5230813" y="5159134"/>
                </a:cubicBezTo>
                <a:cubicBezTo>
                  <a:pt x="4568832" y="3340100"/>
                  <a:pt x="4568832" y="3340100"/>
                  <a:pt x="4568832" y="3340100"/>
                </a:cubicBezTo>
                <a:close/>
                <a:moveTo>
                  <a:pt x="7731125" y="0"/>
                </a:moveTo>
                <a:lnTo>
                  <a:pt x="8434388" y="1931988"/>
                </a:lnTo>
                <a:lnTo>
                  <a:pt x="9137650" y="3865563"/>
                </a:lnTo>
                <a:lnTo>
                  <a:pt x="9840912" y="5797551"/>
                </a:lnTo>
                <a:lnTo>
                  <a:pt x="10544175" y="7731126"/>
                </a:lnTo>
                <a:lnTo>
                  <a:pt x="8612188" y="8434388"/>
                </a:lnTo>
                <a:lnTo>
                  <a:pt x="6688138" y="9134476"/>
                </a:lnTo>
                <a:lnTo>
                  <a:pt x="6669088" y="9140826"/>
                </a:lnTo>
                <a:lnTo>
                  <a:pt x="4746625" y="9840913"/>
                </a:lnTo>
                <a:lnTo>
                  <a:pt x="2814638" y="10544176"/>
                </a:lnTo>
                <a:lnTo>
                  <a:pt x="2109788" y="8610601"/>
                </a:lnTo>
                <a:lnTo>
                  <a:pt x="1411288" y="6688138"/>
                </a:lnTo>
                <a:lnTo>
                  <a:pt x="1403350" y="6669088"/>
                </a:lnTo>
                <a:lnTo>
                  <a:pt x="703263" y="4746626"/>
                </a:lnTo>
                <a:lnTo>
                  <a:pt x="0" y="2813050"/>
                </a:lnTo>
                <a:lnTo>
                  <a:pt x="1924050" y="2112963"/>
                </a:lnTo>
                <a:lnTo>
                  <a:pt x="1941513" y="2106613"/>
                </a:lnTo>
                <a:lnTo>
                  <a:pt x="3865563" y="1406525"/>
                </a:lnTo>
                <a:lnTo>
                  <a:pt x="5797550" y="703263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8AD6650E-3053-4F79-BF3F-C5B7CE463DC7}"/>
              </a:ext>
            </a:extLst>
          </p:cNvPr>
          <p:cNvSpPr>
            <a:spLocks noSelect="1"/>
          </p:cNvSpPr>
          <p:nvPr userDrawn="1"/>
        </p:nvSpPr>
        <p:spPr>
          <a:xfrm>
            <a:off x="6858000" y="0"/>
            <a:ext cx="5334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Logo achtergrond (PHJU)"/>
          <p:cNvSpPr>
            <a:spLocks noGrp="1" noSelect="1"/>
          </p:cNvSpPr>
          <p:nvPr userDrawn="1">
            <p:ph type="body" idx="1002" hasCustomPrompt="1"/>
            <p:custDataLst>
              <p:custData r:id="rId2"/>
            </p:custDataLst>
          </p:nvPr>
        </p:nvSpPr>
        <p:spPr bwMode="gray">
          <a:xfrm>
            <a:off x="-12815" y="537562"/>
            <a:ext cx="2448000" cy="540322"/>
          </a:xfrm>
          <a:custGeom>
            <a:avLst/>
            <a:gdLst>
              <a:gd name="T0" fmla="*/ 172 w 1255"/>
              <a:gd name="T1" fmla="*/ 56 h 277"/>
              <a:gd name="T2" fmla="*/ 0 w 1255"/>
              <a:gd name="T3" fmla="*/ 56 h 277"/>
              <a:gd name="T4" fmla="*/ 0 w 1255"/>
              <a:gd name="T5" fmla="*/ 221 h 277"/>
              <a:gd name="T6" fmla="*/ 176 w 1255"/>
              <a:gd name="T7" fmla="*/ 221 h 277"/>
              <a:gd name="T8" fmla="*/ 196 w 1255"/>
              <a:gd name="T9" fmla="*/ 277 h 277"/>
              <a:gd name="T10" fmla="*/ 350 w 1255"/>
              <a:gd name="T11" fmla="*/ 221 h 277"/>
              <a:gd name="T12" fmla="*/ 1255 w 1255"/>
              <a:gd name="T13" fmla="*/ 221 h 277"/>
              <a:gd name="T14" fmla="*/ 1255 w 1255"/>
              <a:gd name="T15" fmla="*/ 56 h 277"/>
              <a:gd name="T16" fmla="*/ 346 w 1255"/>
              <a:gd name="T17" fmla="*/ 56 h 277"/>
              <a:gd name="T18" fmla="*/ 326 w 1255"/>
              <a:gd name="T19" fmla="*/ 0 h 277"/>
              <a:gd name="T20" fmla="*/ 172 w 1255"/>
              <a:gd name="T21" fmla="*/ 5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5" h="277">
                <a:moveTo>
                  <a:pt x="172" y="56"/>
                </a:moveTo>
                <a:lnTo>
                  <a:pt x="0" y="56"/>
                </a:lnTo>
                <a:lnTo>
                  <a:pt x="0" y="221"/>
                </a:lnTo>
                <a:lnTo>
                  <a:pt x="176" y="221"/>
                </a:lnTo>
                <a:lnTo>
                  <a:pt x="196" y="277"/>
                </a:lnTo>
                <a:lnTo>
                  <a:pt x="350" y="221"/>
                </a:lnTo>
                <a:lnTo>
                  <a:pt x="1255" y="221"/>
                </a:lnTo>
                <a:lnTo>
                  <a:pt x="1255" y="56"/>
                </a:lnTo>
                <a:lnTo>
                  <a:pt x="346" y="56"/>
                </a:lnTo>
                <a:lnTo>
                  <a:pt x="326" y="0"/>
                </a:lnTo>
                <a:lnTo>
                  <a:pt x="172" y="56"/>
                </a:lnTo>
                <a:close/>
              </a:path>
            </a:pathLst>
          </a:custGeom>
          <a:solidFill>
            <a:srgbClr val="F58220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21" name="Logo tekst (PHJU)"/>
          <p:cNvSpPr>
            <a:spLocks noGrp="1" noSelect="1"/>
          </p:cNvSpPr>
          <p:nvPr userDrawn="1">
            <p:ph type="body" idx="1001" hasCustomPrompt="1"/>
            <p:custDataLst>
              <p:custData r:id="rId3"/>
            </p:custDataLst>
          </p:nvPr>
        </p:nvSpPr>
        <p:spPr bwMode="gray">
          <a:xfrm>
            <a:off x="303182" y="590229"/>
            <a:ext cx="1882326" cy="417433"/>
          </a:xfrm>
          <a:custGeom>
            <a:avLst/>
            <a:gdLst>
              <a:gd name="T0" fmla="*/ 12 w 1930"/>
              <a:gd name="T1" fmla="*/ 292 h 428"/>
              <a:gd name="T2" fmla="*/ 1064 w 1930"/>
              <a:gd name="T3" fmla="*/ 223 h 428"/>
              <a:gd name="T4" fmla="*/ 821 w 1930"/>
              <a:gd name="T5" fmla="*/ 366 h 428"/>
              <a:gd name="T6" fmla="*/ 916 w 1930"/>
              <a:gd name="T7" fmla="*/ 83 h 428"/>
              <a:gd name="T8" fmla="*/ 1011 w 1930"/>
              <a:gd name="T9" fmla="*/ 220 h 428"/>
              <a:gd name="T10" fmla="*/ 874 w 1930"/>
              <a:gd name="T11" fmla="*/ 128 h 428"/>
              <a:gd name="T12" fmla="*/ 907 w 1930"/>
              <a:gd name="T13" fmla="*/ 321 h 428"/>
              <a:gd name="T14" fmla="*/ 1170 w 1930"/>
              <a:gd name="T15" fmla="*/ 366 h 428"/>
              <a:gd name="T16" fmla="*/ 1226 w 1930"/>
              <a:gd name="T17" fmla="*/ 83 h 428"/>
              <a:gd name="T18" fmla="*/ 1170 w 1930"/>
              <a:gd name="T19" fmla="*/ 366 h 428"/>
              <a:gd name="T20" fmla="*/ 1394 w 1930"/>
              <a:gd name="T21" fmla="*/ 75 h 428"/>
              <a:gd name="T22" fmla="*/ 1343 w 1930"/>
              <a:gd name="T23" fmla="*/ 366 h 428"/>
              <a:gd name="T24" fmla="*/ 1391 w 1930"/>
              <a:gd name="T25" fmla="*/ 156 h 428"/>
              <a:gd name="T26" fmla="*/ 1522 w 1930"/>
              <a:gd name="T27" fmla="*/ 371 h 428"/>
              <a:gd name="T28" fmla="*/ 1578 w 1930"/>
              <a:gd name="T29" fmla="*/ 83 h 428"/>
              <a:gd name="T30" fmla="*/ 1528 w 1930"/>
              <a:gd name="T31" fmla="*/ 293 h 428"/>
              <a:gd name="T32" fmla="*/ 1880 w 1930"/>
              <a:gd name="T33" fmla="*/ 371 h 428"/>
              <a:gd name="T34" fmla="*/ 1754 w 1930"/>
              <a:gd name="T35" fmla="*/ 290 h 428"/>
              <a:gd name="T36" fmla="*/ 1673 w 1930"/>
              <a:gd name="T37" fmla="*/ 355 h 428"/>
              <a:gd name="T38" fmla="*/ 1830 w 1930"/>
              <a:gd name="T39" fmla="*/ 83 h 428"/>
              <a:gd name="T40" fmla="*/ 1838 w 1930"/>
              <a:gd name="T41" fmla="*/ 248 h 428"/>
              <a:gd name="T42" fmla="*/ 1768 w 1930"/>
              <a:gd name="T43" fmla="*/ 248 h 428"/>
              <a:gd name="T44" fmla="*/ 13 w 1930"/>
              <a:gd name="T45" fmla="*/ 292 h 428"/>
              <a:gd name="T46" fmla="*/ 13 w 1930"/>
              <a:gd name="T47" fmla="*/ 292 h 428"/>
              <a:gd name="T48" fmla="*/ 378 w 1930"/>
              <a:gd name="T49" fmla="*/ 308 h 428"/>
              <a:gd name="T50" fmla="*/ 114 w 1930"/>
              <a:gd name="T51" fmla="*/ 403 h 428"/>
              <a:gd name="T52" fmla="*/ 0 w 1930"/>
              <a:gd name="T53" fmla="*/ 223 h 428"/>
              <a:gd name="T54" fmla="*/ 131 w 1930"/>
              <a:gd name="T55" fmla="*/ 36 h 428"/>
              <a:gd name="T56" fmla="*/ 329 w 1930"/>
              <a:gd name="T57" fmla="*/ 174 h 428"/>
              <a:gd name="T58" fmla="*/ 72 w 1930"/>
              <a:gd name="T59" fmla="*/ 165 h 428"/>
              <a:gd name="T60" fmla="*/ 68 w 1930"/>
              <a:gd name="T61" fmla="*/ 272 h 428"/>
              <a:gd name="T62" fmla="*/ 246 w 1930"/>
              <a:gd name="T63" fmla="*/ 355 h 428"/>
              <a:gd name="T64" fmla="*/ 329 w 1930"/>
              <a:gd name="T65" fmla="*/ 174 h 428"/>
              <a:gd name="T66" fmla="*/ 734 w 1930"/>
              <a:gd name="T67" fmla="*/ 352 h 428"/>
              <a:gd name="T68" fmla="*/ 602 w 1930"/>
              <a:gd name="T69" fmla="*/ 262 h 428"/>
              <a:gd name="T70" fmla="*/ 566 w 1930"/>
              <a:gd name="T71" fmla="*/ 251 h 428"/>
              <a:gd name="T72" fmla="*/ 513 w 1930"/>
              <a:gd name="T73" fmla="*/ 366 h 428"/>
              <a:gd name="T74" fmla="*/ 605 w 1930"/>
              <a:gd name="T75" fmla="*/ 83 h 428"/>
              <a:gd name="T76" fmla="*/ 647 w 1930"/>
              <a:gd name="T77" fmla="*/ 237 h 428"/>
              <a:gd name="T78" fmla="*/ 600 w 1930"/>
              <a:gd name="T79" fmla="*/ 125 h 428"/>
              <a:gd name="T80" fmla="*/ 569 w 1930"/>
              <a:gd name="T81" fmla="*/ 209 h 428"/>
              <a:gd name="T82" fmla="*/ 647 w 1930"/>
              <a:gd name="T83" fmla="*/ 165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30" h="428">
                <a:moveTo>
                  <a:pt x="12" y="291"/>
                </a:moveTo>
                <a:cubicBezTo>
                  <a:pt x="12" y="292"/>
                  <a:pt x="12" y="292"/>
                  <a:pt x="12" y="292"/>
                </a:cubicBezTo>
                <a:cubicBezTo>
                  <a:pt x="12" y="291"/>
                  <a:pt x="12" y="291"/>
                  <a:pt x="12" y="291"/>
                </a:cubicBezTo>
                <a:close/>
                <a:moveTo>
                  <a:pt x="1064" y="223"/>
                </a:moveTo>
                <a:cubicBezTo>
                  <a:pt x="1064" y="308"/>
                  <a:pt x="993" y="365"/>
                  <a:pt x="918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3" y="83"/>
                  <a:pt x="823" y="83"/>
                  <a:pt x="823" y="83"/>
                </a:cubicBezTo>
                <a:cubicBezTo>
                  <a:pt x="916" y="83"/>
                  <a:pt x="916" y="83"/>
                  <a:pt x="916" y="83"/>
                </a:cubicBezTo>
                <a:cubicBezTo>
                  <a:pt x="1005" y="82"/>
                  <a:pt x="1064" y="138"/>
                  <a:pt x="1064" y="223"/>
                </a:cubicBezTo>
                <a:close/>
                <a:moveTo>
                  <a:pt x="1011" y="220"/>
                </a:moveTo>
                <a:cubicBezTo>
                  <a:pt x="1009" y="168"/>
                  <a:pt x="973" y="127"/>
                  <a:pt x="918" y="128"/>
                </a:cubicBezTo>
                <a:cubicBezTo>
                  <a:pt x="874" y="128"/>
                  <a:pt x="874" y="128"/>
                  <a:pt x="874" y="128"/>
                </a:cubicBezTo>
                <a:cubicBezTo>
                  <a:pt x="874" y="321"/>
                  <a:pt x="874" y="321"/>
                  <a:pt x="874" y="321"/>
                </a:cubicBezTo>
                <a:cubicBezTo>
                  <a:pt x="907" y="321"/>
                  <a:pt x="907" y="321"/>
                  <a:pt x="907" y="321"/>
                </a:cubicBezTo>
                <a:cubicBezTo>
                  <a:pt x="968" y="320"/>
                  <a:pt x="1009" y="285"/>
                  <a:pt x="1011" y="220"/>
                </a:cubicBezTo>
                <a:close/>
                <a:moveTo>
                  <a:pt x="1170" y="366"/>
                </a:moveTo>
                <a:cubicBezTo>
                  <a:pt x="1223" y="366"/>
                  <a:pt x="1223" y="366"/>
                  <a:pt x="1223" y="366"/>
                </a:cubicBezTo>
                <a:cubicBezTo>
                  <a:pt x="1226" y="83"/>
                  <a:pt x="1226" y="83"/>
                  <a:pt x="1226" y="83"/>
                </a:cubicBezTo>
                <a:cubicBezTo>
                  <a:pt x="1173" y="83"/>
                  <a:pt x="1173" y="83"/>
                  <a:pt x="1173" y="83"/>
                </a:cubicBezTo>
                <a:lnTo>
                  <a:pt x="1170" y="366"/>
                </a:lnTo>
                <a:close/>
                <a:moveTo>
                  <a:pt x="1528" y="293"/>
                </a:moveTo>
                <a:cubicBezTo>
                  <a:pt x="1394" y="75"/>
                  <a:pt x="1394" y="75"/>
                  <a:pt x="1394" y="75"/>
                </a:cubicBezTo>
                <a:cubicBezTo>
                  <a:pt x="1346" y="92"/>
                  <a:pt x="1346" y="92"/>
                  <a:pt x="1346" y="92"/>
                </a:cubicBezTo>
                <a:cubicBezTo>
                  <a:pt x="1343" y="366"/>
                  <a:pt x="1343" y="366"/>
                  <a:pt x="1343" y="366"/>
                </a:cubicBezTo>
                <a:cubicBezTo>
                  <a:pt x="1396" y="366"/>
                  <a:pt x="1396" y="366"/>
                  <a:pt x="1396" y="366"/>
                </a:cubicBezTo>
                <a:cubicBezTo>
                  <a:pt x="1391" y="156"/>
                  <a:pt x="1391" y="156"/>
                  <a:pt x="1391" y="156"/>
                </a:cubicBezTo>
                <a:cubicBezTo>
                  <a:pt x="1394" y="156"/>
                  <a:pt x="1394" y="156"/>
                  <a:pt x="1394" y="156"/>
                </a:cubicBezTo>
                <a:cubicBezTo>
                  <a:pt x="1522" y="371"/>
                  <a:pt x="1522" y="371"/>
                  <a:pt x="1522" y="371"/>
                </a:cubicBezTo>
                <a:cubicBezTo>
                  <a:pt x="1575" y="355"/>
                  <a:pt x="1575" y="355"/>
                  <a:pt x="1575" y="355"/>
                </a:cubicBezTo>
                <a:cubicBezTo>
                  <a:pt x="1578" y="83"/>
                  <a:pt x="1578" y="83"/>
                  <a:pt x="1578" y="83"/>
                </a:cubicBezTo>
                <a:cubicBezTo>
                  <a:pt x="1525" y="83"/>
                  <a:pt x="1525" y="83"/>
                  <a:pt x="1525" y="83"/>
                </a:cubicBezTo>
                <a:lnTo>
                  <a:pt x="1528" y="293"/>
                </a:lnTo>
                <a:close/>
                <a:moveTo>
                  <a:pt x="1930" y="355"/>
                </a:moveTo>
                <a:cubicBezTo>
                  <a:pt x="1880" y="371"/>
                  <a:pt x="1880" y="371"/>
                  <a:pt x="1880" y="371"/>
                </a:cubicBezTo>
                <a:cubicBezTo>
                  <a:pt x="1852" y="290"/>
                  <a:pt x="1852" y="290"/>
                  <a:pt x="1852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21" y="371"/>
                  <a:pt x="1721" y="371"/>
                  <a:pt x="1721" y="371"/>
                </a:cubicBezTo>
                <a:cubicBezTo>
                  <a:pt x="1673" y="355"/>
                  <a:pt x="1673" y="355"/>
                  <a:pt x="1673" y="355"/>
                </a:cubicBezTo>
                <a:cubicBezTo>
                  <a:pt x="1782" y="83"/>
                  <a:pt x="1782" y="83"/>
                  <a:pt x="1782" y="83"/>
                </a:cubicBezTo>
                <a:cubicBezTo>
                  <a:pt x="1830" y="83"/>
                  <a:pt x="1830" y="83"/>
                  <a:pt x="1830" y="83"/>
                </a:cubicBezTo>
                <a:lnTo>
                  <a:pt x="1930" y="355"/>
                </a:lnTo>
                <a:close/>
                <a:moveTo>
                  <a:pt x="1838" y="248"/>
                </a:moveTo>
                <a:cubicBezTo>
                  <a:pt x="1805" y="137"/>
                  <a:pt x="1805" y="137"/>
                  <a:pt x="1805" y="137"/>
                </a:cubicBezTo>
                <a:cubicBezTo>
                  <a:pt x="1768" y="248"/>
                  <a:pt x="1768" y="248"/>
                  <a:pt x="1768" y="248"/>
                </a:cubicBezTo>
                <a:lnTo>
                  <a:pt x="1838" y="248"/>
                </a:lnTo>
                <a:close/>
                <a:moveTo>
                  <a:pt x="13" y="292"/>
                </a:moveTo>
                <a:cubicBezTo>
                  <a:pt x="13" y="292"/>
                  <a:pt x="13" y="292"/>
                  <a:pt x="13" y="292"/>
                </a:cubicBezTo>
                <a:cubicBezTo>
                  <a:pt x="13" y="292"/>
                  <a:pt x="13" y="292"/>
                  <a:pt x="13" y="292"/>
                </a:cubicBezTo>
                <a:close/>
                <a:moveTo>
                  <a:pt x="384" y="154"/>
                </a:moveTo>
                <a:cubicBezTo>
                  <a:pt x="403" y="205"/>
                  <a:pt x="400" y="259"/>
                  <a:pt x="378" y="308"/>
                </a:cubicBezTo>
                <a:cubicBezTo>
                  <a:pt x="356" y="356"/>
                  <a:pt x="316" y="392"/>
                  <a:pt x="266" y="410"/>
                </a:cubicBezTo>
                <a:cubicBezTo>
                  <a:pt x="216" y="428"/>
                  <a:pt x="162" y="426"/>
                  <a:pt x="114" y="403"/>
                </a:cubicBezTo>
                <a:cubicBezTo>
                  <a:pt x="66" y="381"/>
                  <a:pt x="30" y="341"/>
                  <a:pt x="13" y="292"/>
                </a:cubicBezTo>
                <a:cubicBezTo>
                  <a:pt x="4" y="269"/>
                  <a:pt x="0" y="246"/>
                  <a:pt x="0" y="223"/>
                </a:cubicBezTo>
                <a:cubicBezTo>
                  <a:pt x="0" y="195"/>
                  <a:pt x="6" y="167"/>
                  <a:pt x="18" y="141"/>
                </a:cubicBezTo>
                <a:cubicBezTo>
                  <a:pt x="40" y="92"/>
                  <a:pt x="80" y="55"/>
                  <a:pt x="131" y="36"/>
                </a:cubicBezTo>
                <a:cubicBezTo>
                  <a:pt x="234" y="0"/>
                  <a:pt x="347" y="53"/>
                  <a:pt x="384" y="154"/>
                </a:cubicBezTo>
                <a:close/>
                <a:moveTo>
                  <a:pt x="329" y="174"/>
                </a:moveTo>
                <a:cubicBezTo>
                  <a:pt x="303" y="103"/>
                  <a:pt x="223" y="66"/>
                  <a:pt x="151" y="91"/>
                </a:cubicBezTo>
                <a:cubicBezTo>
                  <a:pt x="116" y="105"/>
                  <a:pt x="87" y="131"/>
                  <a:pt x="72" y="165"/>
                </a:cubicBezTo>
                <a:cubicBezTo>
                  <a:pt x="56" y="199"/>
                  <a:pt x="55" y="237"/>
                  <a:pt x="68" y="272"/>
                </a:cubicBezTo>
                <a:cubicBezTo>
                  <a:pt x="68" y="272"/>
                  <a:pt x="68" y="272"/>
                  <a:pt x="68" y="272"/>
                </a:cubicBezTo>
                <a:cubicBezTo>
                  <a:pt x="80" y="307"/>
                  <a:pt x="106" y="334"/>
                  <a:pt x="139" y="350"/>
                </a:cubicBezTo>
                <a:cubicBezTo>
                  <a:pt x="173" y="366"/>
                  <a:pt x="211" y="368"/>
                  <a:pt x="246" y="355"/>
                </a:cubicBezTo>
                <a:cubicBezTo>
                  <a:pt x="281" y="342"/>
                  <a:pt x="309" y="316"/>
                  <a:pt x="325" y="283"/>
                </a:cubicBezTo>
                <a:cubicBezTo>
                  <a:pt x="341" y="249"/>
                  <a:pt x="342" y="210"/>
                  <a:pt x="329" y="174"/>
                </a:cubicBezTo>
                <a:close/>
                <a:moveTo>
                  <a:pt x="647" y="237"/>
                </a:moveTo>
                <a:cubicBezTo>
                  <a:pt x="734" y="352"/>
                  <a:pt x="734" y="352"/>
                  <a:pt x="734" y="352"/>
                </a:cubicBezTo>
                <a:cubicBezTo>
                  <a:pt x="681" y="371"/>
                  <a:pt x="681" y="371"/>
                  <a:pt x="681" y="371"/>
                </a:cubicBezTo>
                <a:cubicBezTo>
                  <a:pt x="602" y="262"/>
                  <a:pt x="602" y="262"/>
                  <a:pt x="602" y="262"/>
                </a:cubicBezTo>
                <a:cubicBezTo>
                  <a:pt x="598" y="255"/>
                  <a:pt x="592" y="252"/>
                  <a:pt x="583" y="251"/>
                </a:cubicBezTo>
                <a:cubicBezTo>
                  <a:pt x="566" y="251"/>
                  <a:pt x="566" y="251"/>
                  <a:pt x="566" y="251"/>
                </a:cubicBezTo>
                <a:cubicBezTo>
                  <a:pt x="566" y="366"/>
                  <a:pt x="566" y="366"/>
                  <a:pt x="566" y="366"/>
                </a:cubicBezTo>
                <a:cubicBezTo>
                  <a:pt x="513" y="366"/>
                  <a:pt x="513" y="366"/>
                  <a:pt x="513" y="366"/>
                </a:cubicBezTo>
                <a:cubicBezTo>
                  <a:pt x="516" y="83"/>
                  <a:pt x="516" y="83"/>
                  <a:pt x="516" y="83"/>
                </a:cubicBezTo>
                <a:cubicBezTo>
                  <a:pt x="605" y="83"/>
                  <a:pt x="605" y="83"/>
                  <a:pt x="605" y="83"/>
                </a:cubicBezTo>
                <a:cubicBezTo>
                  <a:pt x="674" y="83"/>
                  <a:pt x="702" y="120"/>
                  <a:pt x="703" y="165"/>
                </a:cubicBezTo>
                <a:cubicBezTo>
                  <a:pt x="702" y="200"/>
                  <a:pt x="680" y="226"/>
                  <a:pt x="647" y="237"/>
                </a:cubicBezTo>
                <a:close/>
                <a:moveTo>
                  <a:pt x="647" y="165"/>
                </a:moveTo>
                <a:cubicBezTo>
                  <a:pt x="647" y="139"/>
                  <a:pt x="625" y="125"/>
                  <a:pt x="600" y="125"/>
                </a:cubicBezTo>
                <a:cubicBezTo>
                  <a:pt x="569" y="125"/>
                  <a:pt x="569" y="125"/>
                  <a:pt x="569" y="125"/>
                </a:cubicBezTo>
                <a:cubicBezTo>
                  <a:pt x="569" y="209"/>
                  <a:pt x="569" y="209"/>
                  <a:pt x="569" y="209"/>
                </a:cubicBezTo>
                <a:cubicBezTo>
                  <a:pt x="600" y="209"/>
                  <a:pt x="600" y="209"/>
                  <a:pt x="600" y="209"/>
                </a:cubicBezTo>
                <a:cubicBezTo>
                  <a:pt x="616" y="209"/>
                  <a:pt x="647" y="202"/>
                  <a:pt x="647" y="1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22" name="Ahead of change (PHJU)"/>
          <p:cNvSpPr>
            <a:spLocks noGrp="1" noSelect="1" noChangeAspect="1"/>
          </p:cNvSpPr>
          <p:nvPr userDrawn="1">
            <p:ph type="body" idx="1000" hasCustomPrompt="1"/>
            <p:custDataLst>
              <p:custData r:id="rId4"/>
            </p:custDataLst>
          </p:nvPr>
        </p:nvSpPr>
        <p:spPr bwMode="gray">
          <a:xfrm>
            <a:off x="803412" y="1067589"/>
            <a:ext cx="1656000" cy="215820"/>
          </a:xfrm>
          <a:custGeom>
            <a:avLst/>
            <a:gdLst>
              <a:gd name="T0" fmla="*/ 2256 w 2302"/>
              <a:gd name="T1" fmla="*/ 152 h 301"/>
              <a:gd name="T2" fmla="*/ 2299 w 2302"/>
              <a:gd name="T3" fmla="*/ 177 h 301"/>
              <a:gd name="T4" fmla="*/ 2232 w 2302"/>
              <a:gd name="T5" fmla="*/ 234 h 301"/>
              <a:gd name="T6" fmla="*/ 2232 w 2302"/>
              <a:gd name="T7" fmla="*/ 199 h 301"/>
              <a:gd name="T8" fmla="*/ 2024 w 2302"/>
              <a:gd name="T9" fmla="*/ 164 h 301"/>
              <a:gd name="T10" fmla="*/ 2053 w 2302"/>
              <a:gd name="T11" fmla="*/ 197 h 301"/>
              <a:gd name="T12" fmla="*/ 2125 w 2302"/>
              <a:gd name="T13" fmla="*/ 97 h 301"/>
              <a:gd name="T14" fmla="*/ 2040 w 2302"/>
              <a:gd name="T15" fmla="*/ 94 h 301"/>
              <a:gd name="T16" fmla="*/ 2082 w 2302"/>
              <a:gd name="T17" fmla="*/ 213 h 301"/>
              <a:gd name="T18" fmla="*/ 2011 w 2302"/>
              <a:gd name="T19" fmla="*/ 245 h 301"/>
              <a:gd name="T20" fmla="*/ 1817 w 2302"/>
              <a:gd name="T21" fmla="*/ 231 h 301"/>
              <a:gd name="T22" fmla="*/ 1887 w 2302"/>
              <a:gd name="T23" fmla="*/ 133 h 301"/>
              <a:gd name="T24" fmla="*/ 1952 w 2302"/>
              <a:gd name="T25" fmla="*/ 231 h 301"/>
              <a:gd name="T26" fmla="*/ 1859 w 2302"/>
              <a:gd name="T27" fmla="*/ 119 h 301"/>
              <a:gd name="T28" fmla="*/ 1817 w 2302"/>
              <a:gd name="T29" fmla="*/ 231 h 301"/>
              <a:gd name="T30" fmla="*/ 1714 w 2302"/>
              <a:gd name="T31" fmla="*/ 132 h 301"/>
              <a:gd name="T32" fmla="*/ 1701 w 2302"/>
              <a:gd name="T33" fmla="*/ 234 h 301"/>
              <a:gd name="T34" fmla="*/ 1784 w 2302"/>
              <a:gd name="T35" fmla="*/ 231 h 301"/>
              <a:gd name="T36" fmla="*/ 1742 w 2302"/>
              <a:gd name="T37" fmla="*/ 117 h 301"/>
              <a:gd name="T38" fmla="*/ 1701 w 2302"/>
              <a:gd name="T39" fmla="*/ 234 h 301"/>
              <a:gd name="T40" fmla="*/ 1522 w 2302"/>
              <a:gd name="T41" fmla="*/ 159 h 301"/>
              <a:gd name="T42" fmla="*/ 1571 w 2302"/>
              <a:gd name="T43" fmla="*/ 231 h 301"/>
              <a:gd name="T44" fmla="*/ 1563 w 2302"/>
              <a:gd name="T45" fmla="*/ 94 h 301"/>
              <a:gd name="T46" fmla="*/ 1479 w 2302"/>
              <a:gd name="T47" fmla="*/ 4 h 301"/>
              <a:gd name="T48" fmla="*/ 1453 w 2302"/>
              <a:gd name="T49" fmla="*/ 210 h 301"/>
              <a:gd name="T50" fmla="*/ 1368 w 2302"/>
              <a:gd name="T51" fmla="*/ 164 h 301"/>
              <a:gd name="T52" fmla="*/ 1454 w 2302"/>
              <a:gd name="T53" fmla="*/ 121 h 301"/>
              <a:gd name="T54" fmla="*/ 1397 w 2302"/>
              <a:gd name="T55" fmla="*/ 234 h 301"/>
              <a:gd name="T56" fmla="*/ 1197 w 2302"/>
              <a:gd name="T57" fmla="*/ 132 h 301"/>
              <a:gd name="T58" fmla="*/ 1197 w 2302"/>
              <a:gd name="T59" fmla="*/ 97 h 301"/>
              <a:gd name="T60" fmla="*/ 1222 w 2302"/>
              <a:gd name="T61" fmla="*/ 45 h 301"/>
              <a:gd name="T62" fmla="*/ 1154 w 2302"/>
              <a:gd name="T63" fmla="*/ 52 h 301"/>
              <a:gd name="T64" fmla="*/ 1132 w 2302"/>
              <a:gd name="T65" fmla="*/ 132 h 301"/>
              <a:gd name="T66" fmla="*/ 1040 w 2302"/>
              <a:gd name="T67" fmla="*/ 198 h 301"/>
              <a:gd name="T68" fmla="*/ 1070 w 2302"/>
              <a:gd name="T69" fmla="*/ 164 h 301"/>
              <a:gd name="T70" fmla="*/ 1113 w 2302"/>
              <a:gd name="T71" fmla="*/ 164 h 301"/>
              <a:gd name="T72" fmla="*/ 1040 w 2302"/>
              <a:gd name="T73" fmla="*/ 234 h 301"/>
              <a:gd name="T74" fmla="*/ 796 w 2302"/>
              <a:gd name="T75" fmla="*/ 132 h 301"/>
              <a:gd name="T76" fmla="*/ 784 w 2302"/>
              <a:gd name="T77" fmla="*/ 234 h 301"/>
              <a:gd name="T78" fmla="*/ 867 w 2302"/>
              <a:gd name="T79" fmla="*/ 231 h 301"/>
              <a:gd name="T80" fmla="*/ 825 w 2302"/>
              <a:gd name="T81" fmla="*/ 116 h 301"/>
              <a:gd name="T82" fmla="*/ 784 w 2302"/>
              <a:gd name="T83" fmla="*/ 234 h 301"/>
              <a:gd name="T84" fmla="*/ 624 w 2302"/>
              <a:gd name="T85" fmla="*/ 132 h 301"/>
              <a:gd name="T86" fmla="*/ 611 w 2302"/>
              <a:gd name="T87" fmla="*/ 234 h 301"/>
              <a:gd name="T88" fmla="*/ 694 w 2302"/>
              <a:gd name="T89" fmla="*/ 231 h 301"/>
              <a:gd name="T90" fmla="*/ 652 w 2302"/>
              <a:gd name="T91" fmla="*/ 117 h 301"/>
              <a:gd name="T92" fmla="*/ 611 w 2302"/>
              <a:gd name="T93" fmla="*/ 234 h 301"/>
              <a:gd name="T94" fmla="*/ 484 w 2302"/>
              <a:gd name="T95" fmla="*/ 152 h 301"/>
              <a:gd name="T96" fmla="*/ 527 w 2302"/>
              <a:gd name="T97" fmla="*/ 177 h 301"/>
              <a:gd name="T98" fmla="*/ 460 w 2302"/>
              <a:gd name="T99" fmla="*/ 234 h 301"/>
              <a:gd name="T100" fmla="*/ 460 w 2302"/>
              <a:gd name="T101" fmla="*/ 199 h 301"/>
              <a:gd name="T102" fmla="*/ 262 w 2302"/>
              <a:gd name="T103" fmla="*/ 231 h 301"/>
              <a:gd name="T104" fmla="*/ 311 w 2302"/>
              <a:gd name="T105" fmla="*/ 156 h 301"/>
              <a:gd name="T106" fmla="*/ 354 w 2302"/>
              <a:gd name="T107" fmla="*/ 154 h 301"/>
              <a:gd name="T108" fmla="*/ 262 w 2302"/>
              <a:gd name="T109" fmla="*/ 4 h 301"/>
              <a:gd name="T110" fmla="*/ 68 w 2302"/>
              <a:gd name="T111" fmla="*/ 170 h 301"/>
              <a:gd name="T112" fmla="*/ 109 w 2302"/>
              <a:gd name="T113" fmla="*/ 133 h 301"/>
              <a:gd name="T114" fmla="*/ 0 w 2302"/>
              <a:gd name="T115" fmla="*/ 231 h 301"/>
              <a:gd name="T116" fmla="*/ 140 w 2302"/>
              <a:gd name="T117" fmla="*/ 207 h 301"/>
              <a:gd name="T118" fmla="*/ 98 w 2302"/>
              <a:gd name="T119" fmla="*/ 15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02" h="301">
                <a:moveTo>
                  <a:pt x="2196" y="152"/>
                </a:moveTo>
                <a:cubicBezTo>
                  <a:pt x="2200" y="136"/>
                  <a:pt x="2211" y="129"/>
                  <a:pt x="2228" y="129"/>
                </a:cubicBezTo>
                <a:cubicBezTo>
                  <a:pt x="2245" y="129"/>
                  <a:pt x="2254" y="138"/>
                  <a:pt x="2256" y="152"/>
                </a:cubicBezTo>
                <a:lnTo>
                  <a:pt x="2196" y="152"/>
                </a:lnTo>
                <a:close/>
                <a:moveTo>
                  <a:pt x="2197" y="177"/>
                </a:moveTo>
                <a:cubicBezTo>
                  <a:pt x="2299" y="177"/>
                  <a:pt x="2299" y="177"/>
                  <a:pt x="2299" y="177"/>
                </a:cubicBezTo>
                <a:cubicBezTo>
                  <a:pt x="2302" y="130"/>
                  <a:pt x="2276" y="94"/>
                  <a:pt x="2228" y="94"/>
                </a:cubicBezTo>
                <a:cubicBezTo>
                  <a:pt x="2186" y="94"/>
                  <a:pt x="2153" y="123"/>
                  <a:pt x="2153" y="164"/>
                </a:cubicBezTo>
                <a:cubicBezTo>
                  <a:pt x="2153" y="205"/>
                  <a:pt x="2184" y="234"/>
                  <a:pt x="2232" y="234"/>
                </a:cubicBezTo>
                <a:cubicBezTo>
                  <a:pt x="2260" y="234"/>
                  <a:pt x="2277" y="225"/>
                  <a:pt x="2290" y="214"/>
                </a:cubicBezTo>
                <a:cubicBezTo>
                  <a:pt x="2265" y="188"/>
                  <a:pt x="2265" y="188"/>
                  <a:pt x="2265" y="188"/>
                </a:cubicBezTo>
                <a:cubicBezTo>
                  <a:pt x="2259" y="193"/>
                  <a:pt x="2247" y="199"/>
                  <a:pt x="2232" y="199"/>
                </a:cubicBezTo>
                <a:cubicBezTo>
                  <a:pt x="2212" y="199"/>
                  <a:pt x="2201" y="191"/>
                  <a:pt x="2197" y="177"/>
                </a:cubicBezTo>
                <a:close/>
                <a:moveTo>
                  <a:pt x="2053" y="197"/>
                </a:moveTo>
                <a:cubicBezTo>
                  <a:pt x="2035" y="197"/>
                  <a:pt x="2024" y="185"/>
                  <a:pt x="2024" y="164"/>
                </a:cubicBezTo>
                <a:cubicBezTo>
                  <a:pt x="2024" y="144"/>
                  <a:pt x="2035" y="132"/>
                  <a:pt x="2053" y="132"/>
                </a:cubicBezTo>
                <a:cubicBezTo>
                  <a:pt x="2071" y="132"/>
                  <a:pt x="2083" y="144"/>
                  <a:pt x="2083" y="164"/>
                </a:cubicBezTo>
                <a:cubicBezTo>
                  <a:pt x="2083" y="185"/>
                  <a:pt x="2071" y="197"/>
                  <a:pt x="2053" y="197"/>
                </a:cubicBezTo>
                <a:close/>
                <a:moveTo>
                  <a:pt x="2052" y="301"/>
                </a:moveTo>
                <a:cubicBezTo>
                  <a:pt x="2091" y="301"/>
                  <a:pt x="2125" y="282"/>
                  <a:pt x="2125" y="231"/>
                </a:cubicBezTo>
                <a:cubicBezTo>
                  <a:pt x="2125" y="97"/>
                  <a:pt x="2125" y="97"/>
                  <a:pt x="2125" y="97"/>
                </a:cubicBezTo>
                <a:cubicBezTo>
                  <a:pt x="2082" y="97"/>
                  <a:pt x="2082" y="97"/>
                  <a:pt x="2082" y="97"/>
                </a:cubicBezTo>
                <a:cubicBezTo>
                  <a:pt x="2083" y="118"/>
                  <a:pt x="2083" y="118"/>
                  <a:pt x="2083" y="118"/>
                </a:cubicBezTo>
                <a:cubicBezTo>
                  <a:pt x="2075" y="104"/>
                  <a:pt x="2062" y="94"/>
                  <a:pt x="2040" y="94"/>
                </a:cubicBezTo>
                <a:cubicBezTo>
                  <a:pt x="2008" y="94"/>
                  <a:pt x="1980" y="122"/>
                  <a:pt x="1980" y="164"/>
                </a:cubicBezTo>
                <a:cubicBezTo>
                  <a:pt x="1980" y="205"/>
                  <a:pt x="2008" y="234"/>
                  <a:pt x="2041" y="234"/>
                </a:cubicBezTo>
                <a:cubicBezTo>
                  <a:pt x="2061" y="234"/>
                  <a:pt x="2075" y="225"/>
                  <a:pt x="2082" y="213"/>
                </a:cubicBezTo>
                <a:cubicBezTo>
                  <a:pt x="2082" y="229"/>
                  <a:pt x="2082" y="229"/>
                  <a:pt x="2082" y="229"/>
                </a:cubicBezTo>
                <a:cubicBezTo>
                  <a:pt x="2082" y="254"/>
                  <a:pt x="2070" y="265"/>
                  <a:pt x="2050" y="265"/>
                </a:cubicBezTo>
                <a:cubicBezTo>
                  <a:pt x="2031" y="265"/>
                  <a:pt x="2020" y="256"/>
                  <a:pt x="2011" y="245"/>
                </a:cubicBezTo>
                <a:cubicBezTo>
                  <a:pt x="1981" y="268"/>
                  <a:pt x="1981" y="268"/>
                  <a:pt x="1981" y="268"/>
                </a:cubicBezTo>
                <a:cubicBezTo>
                  <a:pt x="1996" y="288"/>
                  <a:pt x="2017" y="301"/>
                  <a:pt x="2052" y="301"/>
                </a:cubicBezTo>
                <a:close/>
                <a:moveTo>
                  <a:pt x="1817" y="231"/>
                </a:moveTo>
                <a:cubicBezTo>
                  <a:pt x="1860" y="231"/>
                  <a:pt x="1860" y="231"/>
                  <a:pt x="1860" y="231"/>
                </a:cubicBezTo>
                <a:cubicBezTo>
                  <a:pt x="1860" y="159"/>
                  <a:pt x="1860" y="159"/>
                  <a:pt x="1860" y="159"/>
                </a:cubicBezTo>
                <a:cubicBezTo>
                  <a:pt x="1860" y="142"/>
                  <a:pt x="1870" y="133"/>
                  <a:pt x="1887" y="133"/>
                </a:cubicBezTo>
                <a:cubicBezTo>
                  <a:pt x="1902" y="133"/>
                  <a:pt x="1909" y="141"/>
                  <a:pt x="1909" y="156"/>
                </a:cubicBezTo>
                <a:cubicBezTo>
                  <a:pt x="1909" y="231"/>
                  <a:pt x="1909" y="231"/>
                  <a:pt x="1909" y="231"/>
                </a:cubicBezTo>
                <a:cubicBezTo>
                  <a:pt x="1952" y="231"/>
                  <a:pt x="1952" y="231"/>
                  <a:pt x="1952" y="231"/>
                </a:cubicBezTo>
                <a:cubicBezTo>
                  <a:pt x="1952" y="154"/>
                  <a:pt x="1952" y="154"/>
                  <a:pt x="1952" y="154"/>
                </a:cubicBezTo>
                <a:cubicBezTo>
                  <a:pt x="1952" y="115"/>
                  <a:pt x="1931" y="94"/>
                  <a:pt x="1901" y="94"/>
                </a:cubicBezTo>
                <a:cubicBezTo>
                  <a:pt x="1883" y="94"/>
                  <a:pt x="1867" y="103"/>
                  <a:pt x="1859" y="119"/>
                </a:cubicBezTo>
                <a:cubicBezTo>
                  <a:pt x="1860" y="97"/>
                  <a:pt x="1860" y="97"/>
                  <a:pt x="1860" y="97"/>
                </a:cubicBezTo>
                <a:cubicBezTo>
                  <a:pt x="1817" y="97"/>
                  <a:pt x="1817" y="97"/>
                  <a:pt x="1817" y="97"/>
                </a:cubicBezTo>
                <a:lnTo>
                  <a:pt x="1817" y="231"/>
                </a:lnTo>
                <a:close/>
                <a:moveTo>
                  <a:pt x="1714" y="197"/>
                </a:moveTo>
                <a:cubicBezTo>
                  <a:pt x="1696" y="197"/>
                  <a:pt x="1686" y="184"/>
                  <a:pt x="1686" y="164"/>
                </a:cubicBezTo>
                <a:cubicBezTo>
                  <a:pt x="1686" y="144"/>
                  <a:pt x="1696" y="132"/>
                  <a:pt x="1714" y="132"/>
                </a:cubicBezTo>
                <a:cubicBezTo>
                  <a:pt x="1732" y="132"/>
                  <a:pt x="1742" y="144"/>
                  <a:pt x="1742" y="164"/>
                </a:cubicBezTo>
                <a:cubicBezTo>
                  <a:pt x="1742" y="184"/>
                  <a:pt x="1732" y="197"/>
                  <a:pt x="1714" y="197"/>
                </a:cubicBezTo>
                <a:close/>
                <a:moveTo>
                  <a:pt x="1701" y="234"/>
                </a:moveTo>
                <a:cubicBezTo>
                  <a:pt x="1721" y="234"/>
                  <a:pt x="1735" y="224"/>
                  <a:pt x="1742" y="211"/>
                </a:cubicBezTo>
                <a:cubicBezTo>
                  <a:pt x="1742" y="231"/>
                  <a:pt x="1742" y="231"/>
                  <a:pt x="1742" y="231"/>
                </a:cubicBezTo>
                <a:cubicBezTo>
                  <a:pt x="1784" y="231"/>
                  <a:pt x="1784" y="231"/>
                  <a:pt x="1784" y="231"/>
                </a:cubicBezTo>
                <a:cubicBezTo>
                  <a:pt x="1784" y="97"/>
                  <a:pt x="1784" y="97"/>
                  <a:pt x="1784" y="97"/>
                </a:cubicBezTo>
                <a:cubicBezTo>
                  <a:pt x="1742" y="97"/>
                  <a:pt x="1742" y="97"/>
                  <a:pt x="1742" y="97"/>
                </a:cubicBezTo>
                <a:cubicBezTo>
                  <a:pt x="1742" y="117"/>
                  <a:pt x="1742" y="117"/>
                  <a:pt x="1742" y="117"/>
                </a:cubicBezTo>
                <a:cubicBezTo>
                  <a:pt x="1735" y="103"/>
                  <a:pt x="1722" y="94"/>
                  <a:pt x="1701" y="94"/>
                </a:cubicBezTo>
                <a:cubicBezTo>
                  <a:pt x="1668" y="94"/>
                  <a:pt x="1642" y="123"/>
                  <a:pt x="1642" y="164"/>
                </a:cubicBezTo>
                <a:cubicBezTo>
                  <a:pt x="1642" y="205"/>
                  <a:pt x="1669" y="234"/>
                  <a:pt x="1701" y="234"/>
                </a:cubicBezTo>
                <a:close/>
                <a:moveTo>
                  <a:pt x="1479" y="231"/>
                </a:moveTo>
                <a:cubicBezTo>
                  <a:pt x="1522" y="231"/>
                  <a:pt x="1522" y="231"/>
                  <a:pt x="1522" y="231"/>
                </a:cubicBezTo>
                <a:cubicBezTo>
                  <a:pt x="1522" y="159"/>
                  <a:pt x="1522" y="159"/>
                  <a:pt x="1522" y="159"/>
                </a:cubicBezTo>
                <a:cubicBezTo>
                  <a:pt x="1522" y="142"/>
                  <a:pt x="1532" y="133"/>
                  <a:pt x="1549" y="133"/>
                </a:cubicBezTo>
                <a:cubicBezTo>
                  <a:pt x="1564" y="133"/>
                  <a:pt x="1571" y="141"/>
                  <a:pt x="1571" y="156"/>
                </a:cubicBezTo>
                <a:cubicBezTo>
                  <a:pt x="1571" y="231"/>
                  <a:pt x="1571" y="231"/>
                  <a:pt x="1571" y="231"/>
                </a:cubicBezTo>
                <a:cubicBezTo>
                  <a:pt x="1614" y="231"/>
                  <a:pt x="1614" y="231"/>
                  <a:pt x="1614" y="231"/>
                </a:cubicBezTo>
                <a:cubicBezTo>
                  <a:pt x="1614" y="154"/>
                  <a:pt x="1614" y="154"/>
                  <a:pt x="1614" y="154"/>
                </a:cubicBezTo>
                <a:cubicBezTo>
                  <a:pt x="1614" y="115"/>
                  <a:pt x="1592" y="94"/>
                  <a:pt x="1563" y="94"/>
                </a:cubicBezTo>
                <a:cubicBezTo>
                  <a:pt x="1545" y="94"/>
                  <a:pt x="1530" y="103"/>
                  <a:pt x="1522" y="118"/>
                </a:cubicBezTo>
                <a:cubicBezTo>
                  <a:pt x="1522" y="4"/>
                  <a:pt x="1522" y="4"/>
                  <a:pt x="1522" y="4"/>
                </a:cubicBezTo>
                <a:cubicBezTo>
                  <a:pt x="1479" y="4"/>
                  <a:pt x="1479" y="4"/>
                  <a:pt x="1479" y="4"/>
                </a:cubicBezTo>
                <a:lnTo>
                  <a:pt x="1479" y="231"/>
                </a:lnTo>
                <a:close/>
                <a:moveTo>
                  <a:pt x="1397" y="234"/>
                </a:moveTo>
                <a:cubicBezTo>
                  <a:pt x="1424" y="234"/>
                  <a:pt x="1440" y="224"/>
                  <a:pt x="1453" y="210"/>
                </a:cubicBezTo>
                <a:cubicBezTo>
                  <a:pt x="1425" y="184"/>
                  <a:pt x="1425" y="184"/>
                  <a:pt x="1425" y="184"/>
                </a:cubicBezTo>
                <a:cubicBezTo>
                  <a:pt x="1418" y="191"/>
                  <a:pt x="1411" y="197"/>
                  <a:pt x="1397" y="197"/>
                </a:cubicBezTo>
                <a:cubicBezTo>
                  <a:pt x="1378" y="197"/>
                  <a:pt x="1368" y="183"/>
                  <a:pt x="1368" y="164"/>
                </a:cubicBezTo>
                <a:cubicBezTo>
                  <a:pt x="1368" y="145"/>
                  <a:pt x="1378" y="131"/>
                  <a:pt x="1397" y="131"/>
                </a:cubicBezTo>
                <a:cubicBezTo>
                  <a:pt x="1408" y="131"/>
                  <a:pt x="1419" y="137"/>
                  <a:pt x="1424" y="145"/>
                </a:cubicBezTo>
                <a:cubicBezTo>
                  <a:pt x="1454" y="121"/>
                  <a:pt x="1454" y="121"/>
                  <a:pt x="1454" y="121"/>
                </a:cubicBezTo>
                <a:cubicBezTo>
                  <a:pt x="1440" y="104"/>
                  <a:pt x="1424" y="94"/>
                  <a:pt x="1397" y="94"/>
                </a:cubicBezTo>
                <a:cubicBezTo>
                  <a:pt x="1356" y="94"/>
                  <a:pt x="1324" y="123"/>
                  <a:pt x="1324" y="164"/>
                </a:cubicBezTo>
                <a:cubicBezTo>
                  <a:pt x="1324" y="205"/>
                  <a:pt x="1356" y="234"/>
                  <a:pt x="1397" y="234"/>
                </a:cubicBezTo>
                <a:close/>
                <a:moveTo>
                  <a:pt x="1154" y="231"/>
                </a:moveTo>
                <a:cubicBezTo>
                  <a:pt x="1197" y="231"/>
                  <a:pt x="1197" y="231"/>
                  <a:pt x="1197" y="231"/>
                </a:cubicBezTo>
                <a:cubicBezTo>
                  <a:pt x="1197" y="132"/>
                  <a:pt x="1197" y="132"/>
                  <a:pt x="1197" y="132"/>
                </a:cubicBezTo>
                <a:cubicBezTo>
                  <a:pt x="1233" y="132"/>
                  <a:pt x="1233" y="132"/>
                  <a:pt x="1233" y="132"/>
                </a:cubicBezTo>
                <a:cubicBezTo>
                  <a:pt x="1233" y="97"/>
                  <a:pt x="1233" y="97"/>
                  <a:pt x="1233" y="97"/>
                </a:cubicBezTo>
                <a:cubicBezTo>
                  <a:pt x="1197" y="97"/>
                  <a:pt x="1197" y="97"/>
                  <a:pt x="1197" y="97"/>
                </a:cubicBezTo>
                <a:cubicBezTo>
                  <a:pt x="1197" y="51"/>
                  <a:pt x="1197" y="51"/>
                  <a:pt x="1197" y="51"/>
                </a:cubicBezTo>
                <a:cubicBezTo>
                  <a:pt x="1197" y="41"/>
                  <a:pt x="1202" y="38"/>
                  <a:pt x="1208" y="38"/>
                </a:cubicBezTo>
                <a:cubicBezTo>
                  <a:pt x="1215" y="38"/>
                  <a:pt x="1219" y="41"/>
                  <a:pt x="1222" y="45"/>
                </a:cubicBezTo>
                <a:cubicBezTo>
                  <a:pt x="1245" y="17"/>
                  <a:pt x="1245" y="17"/>
                  <a:pt x="1245" y="17"/>
                </a:cubicBezTo>
                <a:cubicBezTo>
                  <a:pt x="1235" y="5"/>
                  <a:pt x="1223" y="0"/>
                  <a:pt x="1204" y="0"/>
                </a:cubicBezTo>
                <a:cubicBezTo>
                  <a:pt x="1171" y="0"/>
                  <a:pt x="1154" y="17"/>
                  <a:pt x="1154" y="52"/>
                </a:cubicBezTo>
                <a:cubicBezTo>
                  <a:pt x="1154" y="97"/>
                  <a:pt x="1154" y="97"/>
                  <a:pt x="1154" y="97"/>
                </a:cubicBezTo>
                <a:cubicBezTo>
                  <a:pt x="1132" y="97"/>
                  <a:pt x="1132" y="97"/>
                  <a:pt x="1132" y="97"/>
                </a:cubicBezTo>
                <a:cubicBezTo>
                  <a:pt x="1132" y="132"/>
                  <a:pt x="1132" y="132"/>
                  <a:pt x="1132" y="132"/>
                </a:cubicBezTo>
                <a:cubicBezTo>
                  <a:pt x="1154" y="132"/>
                  <a:pt x="1154" y="132"/>
                  <a:pt x="1154" y="132"/>
                </a:cubicBezTo>
                <a:lnTo>
                  <a:pt x="1154" y="231"/>
                </a:lnTo>
                <a:close/>
                <a:moveTo>
                  <a:pt x="1040" y="198"/>
                </a:moveTo>
                <a:cubicBezTo>
                  <a:pt x="1021" y="198"/>
                  <a:pt x="1009" y="184"/>
                  <a:pt x="1009" y="164"/>
                </a:cubicBezTo>
                <a:cubicBezTo>
                  <a:pt x="1009" y="144"/>
                  <a:pt x="1021" y="131"/>
                  <a:pt x="1040" y="131"/>
                </a:cubicBezTo>
                <a:cubicBezTo>
                  <a:pt x="1059" y="131"/>
                  <a:pt x="1070" y="144"/>
                  <a:pt x="1070" y="164"/>
                </a:cubicBezTo>
                <a:cubicBezTo>
                  <a:pt x="1070" y="184"/>
                  <a:pt x="1059" y="198"/>
                  <a:pt x="1040" y="198"/>
                </a:cubicBezTo>
                <a:close/>
                <a:moveTo>
                  <a:pt x="1040" y="234"/>
                </a:moveTo>
                <a:cubicBezTo>
                  <a:pt x="1081" y="234"/>
                  <a:pt x="1113" y="205"/>
                  <a:pt x="1113" y="164"/>
                </a:cubicBezTo>
                <a:cubicBezTo>
                  <a:pt x="1113" y="123"/>
                  <a:pt x="1081" y="94"/>
                  <a:pt x="1040" y="94"/>
                </a:cubicBezTo>
                <a:cubicBezTo>
                  <a:pt x="998" y="94"/>
                  <a:pt x="966" y="123"/>
                  <a:pt x="966" y="164"/>
                </a:cubicBezTo>
                <a:cubicBezTo>
                  <a:pt x="966" y="205"/>
                  <a:pt x="998" y="234"/>
                  <a:pt x="1040" y="234"/>
                </a:cubicBezTo>
                <a:close/>
                <a:moveTo>
                  <a:pt x="796" y="197"/>
                </a:moveTo>
                <a:cubicBezTo>
                  <a:pt x="778" y="197"/>
                  <a:pt x="767" y="185"/>
                  <a:pt x="767" y="164"/>
                </a:cubicBezTo>
                <a:cubicBezTo>
                  <a:pt x="767" y="144"/>
                  <a:pt x="778" y="132"/>
                  <a:pt x="796" y="132"/>
                </a:cubicBezTo>
                <a:cubicBezTo>
                  <a:pt x="814" y="132"/>
                  <a:pt x="826" y="144"/>
                  <a:pt x="826" y="164"/>
                </a:cubicBezTo>
                <a:cubicBezTo>
                  <a:pt x="826" y="185"/>
                  <a:pt x="814" y="197"/>
                  <a:pt x="796" y="197"/>
                </a:cubicBezTo>
                <a:close/>
                <a:moveTo>
                  <a:pt x="784" y="234"/>
                </a:moveTo>
                <a:cubicBezTo>
                  <a:pt x="804" y="234"/>
                  <a:pt x="818" y="226"/>
                  <a:pt x="826" y="212"/>
                </a:cubicBezTo>
                <a:cubicBezTo>
                  <a:pt x="825" y="231"/>
                  <a:pt x="825" y="231"/>
                  <a:pt x="825" y="231"/>
                </a:cubicBezTo>
                <a:cubicBezTo>
                  <a:pt x="867" y="231"/>
                  <a:pt x="867" y="231"/>
                  <a:pt x="867" y="231"/>
                </a:cubicBezTo>
                <a:cubicBezTo>
                  <a:pt x="867" y="4"/>
                  <a:pt x="867" y="4"/>
                  <a:pt x="867" y="4"/>
                </a:cubicBezTo>
                <a:cubicBezTo>
                  <a:pt x="825" y="4"/>
                  <a:pt x="825" y="4"/>
                  <a:pt x="825" y="4"/>
                </a:cubicBezTo>
                <a:cubicBezTo>
                  <a:pt x="825" y="116"/>
                  <a:pt x="825" y="116"/>
                  <a:pt x="825" y="116"/>
                </a:cubicBezTo>
                <a:cubicBezTo>
                  <a:pt x="816" y="103"/>
                  <a:pt x="804" y="94"/>
                  <a:pt x="783" y="94"/>
                </a:cubicBezTo>
                <a:cubicBezTo>
                  <a:pt x="751" y="94"/>
                  <a:pt x="723" y="122"/>
                  <a:pt x="723" y="164"/>
                </a:cubicBezTo>
                <a:cubicBezTo>
                  <a:pt x="723" y="205"/>
                  <a:pt x="751" y="234"/>
                  <a:pt x="784" y="234"/>
                </a:cubicBezTo>
                <a:close/>
                <a:moveTo>
                  <a:pt x="624" y="197"/>
                </a:moveTo>
                <a:cubicBezTo>
                  <a:pt x="606" y="197"/>
                  <a:pt x="596" y="184"/>
                  <a:pt x="596" y="164"/>
                </a:cubicBezTo>
                <a:cubicBezTo>
                  <a:pt x="596" y="144"/>
                  <a:pt x="606" y="132"/>
                  <a:pt x="624" y="132"/>
                </a:cubicBezTo>
                <a:cubicBezTo>
                  <a:pt x="642" y="132"/>
                  <a:pt x="652" y="144"/>
                  <a:pt x="652" y="164"/>
                </a:cubicBezTo>
                <a:cubicBezTo>
                  <a:pt x="652" y="184"/>
                  <a:pt x="642" y="197"/>
                  <a:pt x="624" y="197"/>
                </a:cubicBezTo>
                <a:close/>
                <a:moveTo>
                  <a:pt x="611" y="234"/>
                </a:moveTo>
                <a:cubicBezTo>
                  <a:pt x="631" y="234"/>
                  <a:pt x="645" y="224"/>
                  <a:pt x="652" y="211"/>
                </a:cubicBezTo>
                <a:cubicBezTo>
                  <a:pt x="652" y="231"/>
                  <a:pt x="652" y="231"/>
                  <a:pt x="652" y="231"/>
                </a:cubicBezTo>
                <a:cubicBezTo>
                  <a:pt x="694" y="231"/>
                  <a:pt x="694" y="231"/>
                  <a:pt x="694" y="231"/>
                </a:cubicBezTo>
                <a:cubicBezTo>
                  <a:pt x="694" y="97"/>
                  <a:pt x="694" y="97"/>
                  <a:pt x="694" y="97"/>
                </a:cubicBezTo>
                <a:cubicBezTo>
                  <a:pt x="652" y="97"/>
                  <a:pt x="652" y="97"/>
                  <a:pt x="652" y="97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45" y="103"/>
                  <a:pt x="631" y="94"/>
                  <a:pt x="611" y="94"/>
                </a:cubicBezTo>
                <a:cubicBezTo>
                  <a:pt x="578" y="94"/>
                  <a:pt x="551" y="123"/>
                  <a:pt x="551" y="164"/>
                </a:cubicBezTo>
                <a:cubicBezTo>
                  <a:pt x="551" y="205"/>
                  <a:pt x="579" y="234"/>
                  <a:pt x="611" y="234"/>
                </a:cubicBezTo>
                <a:close/>
                <a:moveTo>
                  <a:pt x="424" y="152"/>
                </a:moveTo>
                <a:cubicBezTo>
                  <a:pt x="428" y="136"/>
                  <a:pt x="439" y="129"/>
                  <a:pt x="456" y="129"/>
                </a:cubicBezTo>
                <a:cubicBezTo>
                  <a:pt x="473" y="129"/>
                  <a:pt x="482" y="138"/>
                  <a:pt x="484" y="152"/>
                </a:cubicBezTo>
                <a:lnTo>
                  <a:pt x="424" y="152"/>
                </a:lnTo>
                <a:close/>
                <a:moveTo>
                  <a:pt x="425" y="177"/>
                </a:moveTo>
                <a:cubicBezTo>
                  <a:pt x="527" y="177"/>
                  <a:pt x="527" y="177"/>
                  <a:pt x="527" y="177"/>
                </a:cubicBezTo>
                <a:cubicBezTo>
                  <a:pt x="530" y="130"/>
                  <a:pt x="504" y="94"/>
                  <a:pt x="456" y="94"/>
                </a:cubicBezTo>
                <a:cubicBezTo>
                  <a:pt x="414" y="94"/>
                  <a:pt x="382" y="123"/>
                  <a:pt x="382" y="164"/>
                </a:cubicBezTo>
                <a:cubicBezTo>
                  <a:pt x="382" y="205"/>
                  <a:pt x="413" y="234"/>
                  <a:pt x="460" y="234"/>
                </a:cubicBezTo>
                <a:cubicBezTo>
                  <a:pt x="488" y="234"/>
                  <a:pt x="505" y="225"/>
                  <a:pt x="518" y="214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87" y="193"/>
                  <a:pt x="475" y="199"/>
                  <a:pt x="460" y="199"/>
                </a:cubicBezTo>
                <a:cubicBezTo>
                  <a:pt x="441" y="199"/>
                  <a:pt x="429" y="191"/>
                  <a:pt x="425" y="177"/>
                </a:cubicBezTo>
                <a:close/>
                <a:moveTo>
                  <a:pt x="219" y="231"/>
                </a:moveTo>
                <a:cubicBezTo>
                  <a:pt x="262" y="231"/>
                  <a:pt x="262" y="231"/>
                  <a:pt x="262" y="231"/>
                </a:cubicBezTo>
                <a:cubicBezTo>
                  <a:pt x="262" y="159"/>
                  <a:pt x="262" y="159"/>
                  <a:pt x="262" y="159"/>
                </a:cubicBezTo>
                <a:cubicBezTo>
                  <a:pt x="262" y="142"/>
                  <a:pt x="272" y="133"/>
                  <a:pt x="289" y="133"/>
                </a:cubicBezTo>
                <a:cubicBezTo>
                  <a:pt x="304" y="133"/>
                  <a:pt x="311" y="141"/>
                  <a:pt x="311" y="156"/>
                </a:cubicBezTo>
                <a:cubicBezTo>
                  <a:pt x="311" y="231"/>
                  <a:pt x="311" y="231"/>
                  <a:pt x="311" y="231"/>
                </a:cubicBezTo>
                <a:cubicBezTo>
                  <a:pt x="354" y="231"/>
                  <a:pt x="354" y="231"/>
                  <a:pt x="354" y="231"/>
                </a:cubicBezTo>
                <a:cubicBezTo>
                  <a:pt x="354" y="154"/>
                  <a:pt x="354" y="154"/>
                  <a:pt x="354" y="154"/>
                </a:cubicBezTo>
                <a:cubicBezTo>
                  <a:pt x="354" y="115"/>
                  <a:pt x="333" y="94"/>
                  <a:pt x="304" y="94"/>
                </a:cubicBezTo>
                <a:cubicBezTo>
                  <a:pt x="285" y="94"/>
                  <a:pt x="270" y="103"/>
                  <a:pt x="262" y="118"/>
                </a:cubicBezTo>
                <a:cubicBezTo>
                  <a:pt x="262" y="4"/>
                  <a:pt x="262" y="4"/>
                  <a:pt x="262" y="4"/>
                </a:cubicBezTo>
                <a:cubicBezTo>
                  <a:pt x="219" y="4"/>
                  <a:pt x="219" y="4"/>
                  <a:pt x="219" y="4"/>
                </a:cubicBezTo>
                <a:lnTo>
                  <a:pt x="219" y="231"/>
                </a:lnTo>
                <a:close/>
                <a:moveTo>
                  <a:pt x="68" y="170"/>
                </a:moveTo>
                <a:cubicBezTo>
                  <a:pt x="83" y="133"/>
                  <a:pt x="83" y="133"/>
                  <a:pt x="83" y="133"/>
                </a:cubicBezTo>
                <a:cubicBezTo>
                  <a:pt x="89" y="118"/>
                  <a:pt x="96" y="94"/>
                  <a:pt x="96" y="94"/>
                </a:cubicBezTo>
                <a:cubicBezTo>
                  <a:pt x="96" y="94"/>
                  <a:pt x="102" y="118"/>
                  <a:pt x="109" y="133"/>
                </a:cubicBezTo>
                <a:cubicBezTo>
                  <a:pt x="124" y="170"/>
                  <a:pt x="124" y="170"/>
                  <a:pt x="124" y="170"/>
                </a:cubicBezTo>
                <a:lnTo>
                  <a:pt x="68" y="170"/>
                </a:lnTo>
                <a:close/>
                <a:moveTo>
                  <a:pt x="0" y="231"/>
                </a:moveTo>
                <a:cubicBezTo>
                  <a:pt x="43" y="231"/>
                  <a:pt x="43" y="231"/>
                  <a:pt x="43" y="231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140" y="207"/>
                  <a:pt x="140" y="207"/>
                  <a:pt x="140" y="207"/>
                </a:cubicBezTo>
                <a:cubicBezTo>
                  <a:pt x="150" y="231"/>
                  <a:pt x="150" y="231"/>
                  <a:pt x="150" y="231"/>
                </a:cubicBezTo>
                <a:cubicBezTo>
                  <a:pt x="196" y="231"/>
                  <a:pt x="196" y="231"/>
                  <a:pt x="196" y="231"/>
                </a:cubicBezTo>
                <a:cubicBezTo>
                  <a:pt x="98" y="15"/>
                  <a:pt x="98" y="15"/>
                  <a:pt x="98" y="15"/>
                </a:cubicBezTo>
                <a:cubicBezTo>
                  <a:pt x="94" y="15"/>
                  <a:pt x="94" y="15"/>
                  <a:pt x="94" y="15"/>
                </a:cubicBezTo>
                <a:lnTo>
                  <a:pt x="0" y="231"/>
                </a:lnTo>
                <a:close/>
              </a:path>
            </a:pathLst>
          </a:custGeom>
          <a:solidFill>
            <a:srgbClr val="58595B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6102AB8-3CCD-42E9-BAB3-CD2F3010D01F}"/>
              </a:ext>
            </a:extLst>
          </p:cNvPr>
          <p:cNvSpPr>
            <a:spLocks noGrp="1" noSelect="1"/>
          </p:cNvSpPr>
          <p:nvPr>
            <p:ph type="body" sz="quarter" idx="1005" hasCustomPrompt="1"/>
          </p:nvPr>
        </p:nvSpPr>
        <p:spPr>
          <a:xfrm>
            <a:off x="12401550" y="1945339"/>
            <a:ext cx="2628899" cy="4557147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De eerste alinea van dit </a:t>
            </a:r>
            <a:r>
              <a:rPr lang="nl-NL" err="1"/>
              <a:t>titelvak</a:t>
            </a:r>
            <a:r>
              <a:rPr lang="nl-NL"/>
              <a:t> is opgemaakt in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De tweede regel van de titel maak je vet </a:t>
            </a:r>
            <a:r>
              <a:rPr lang="nl-NL" err="1"/>
              <a:t>d,m.v</a:t>
            </a:r>
            <a:r>
              <a:rPr lang="nl-NL"/>
              <a:t>. het Ordina opmaakmenu, of de knop inspring vergroten.</a:t>
            </a:r>
          </a:p>
          <a:p>
            <a:pPr lvl="0"/>
            <a:r>
              <a:rPr lang="nl-NL"/>
              <a:t>De </a:t>
            </a:r>
            <a:r>
              <a:rPr lang="nl-NL" err="1"/>
              <a:t>subtitle</a:t>
            </a:r>
            <a:r>
              <a:rPr lang="nl-NL"/>
              <a:t> heeft derde niveau, datum vierde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9FAC30A-7CDB-4FD2-B18F-B5F8978BCF1C}"/>
              </a:ext>
            </a:extLst>
          </p:cNvPr>
          <p:cNvSpPr>
            <a:spLocks noGrp="1" noSelect="1"/>
          </p:cNvSpPr>
          <p:nvPr>
            <p:ph type="body" sz="quarter" idx="1006" hasCustomPrompt="1"/>
          </p:nvPr>
        </p:nvSpPr>
        <p:spPr>
          <a:xfrm>
            <a:off x="-2760984" y="1736812"/>
            <a:ext cx="2628899" cy="2548744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Bovenop het </a:t>
            </a:r>
            <a:r>
              <a:rPr lang="nl-NL" err="1"/>
              <a:t>fotovak</a:t>
            </a:r>
            <a:r>
              <a:rPr lang="nl-NL"/>
              <a:t> staat een raster, dat je naar wens mag verplaatsen, zodat het gat goed uitkomt op de foto.</a:t>
            </a:r>
            <a:br>
              <a:rPr lang="nl-NL"/>
            </a:br>
            <a:r>
              <a:rPr lang="nl-NL"/>
              <a:t>Klik 1 keer op het raster, verplaats het dan met de pijltjes toetsen.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640E698-DD22-C548-8BC0-C3DA396BD830}"/>
              </a:ext>
            </a:extLst>
          </p:cNvPr>
          <p:cNvSpPr>
            <a:spLocks noGrp="1"/>
          </p:cNvSpPr>
          <p:nvPr>
            <p:ph type="body" sz="quarter" idx="1008" hasCustomPrompt="1"/>
          </p:nvPr>
        </p:nvSpPr>
        <p:spPr>
          <a:xfrm>
            <a:off x="7477125" y="4384068"/>
            <a:ext cx="3406775" cy="342900"/>
          </a:xfr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Ondertitel</a:t>
            </a:r>
            <a:endParaRPr lang="en-US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15E4C79A-3BD2-5F44-A8AF-85E47EEFF5CA}"/>
              </a:ext>
            </a:extLst>
          </p:cNvPr>
          <p:cNvSpPr>
            <a:spLocks noGrp="1"/>
          </p:cNvSpPr>
          <p:nvPr>
            <p:ph type="body" sz="quarter" idx="1009" hasCustomPrompt="1"/>
          </p:nvPr>
        </p:nvSpPr>
        <p:spPr>
          <a:xfrm>
            <a:off x="7477125" y="4864100"/>
            <a:ext cx="3406775" cy="279400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Extra</a:t>
            </a:r>
            <a:endParaRPr lang="en-US"/>
          </a:p>
        </p:txBody>
      </p:sp>
      <p:sp>
        <p:nvSpPr>
          <p:cNvPr id="35" name="4 niveaus: (Titel, titel vet, subtitel en datum (JU-Free)">
            <a:extLst>
              <a:ext uri="{FF2B5EF4-FFF2-40B4-BE49-F238E27FC236}">
                <a16:creationId xmlns:a16="http://schemas.microsoft.com/office/drawing/2014/main" id="{74128D43-A84A-404B-98EC-67AFD494C1DF}"/>
              </a:ext>
            </a:extLst>
          </p:cNvPr>
          <p:cNvSpPr>
            <a:spLocks noGrp="1"/>
          </p:cNvSpPr>
          <p:nvPr>
            <p:ph type="body" sz="quarter" idx="1007" hasCustomPrompt="1"/>
          </p:nvPr>
        </p:nvSpPr>
        <p:spPr bwMode="gray">
          <a:xfrm>
            <a:off x="7477543" y="2726992"/>
            <a:ext cx="4428000" cy="1705589"/>
          </a:xfrm>
        </p:spPr>
        <p:txBody>
          <a:bodyPr anchor="t"/>
          <a:lstStyle>
            <a:lvl1pPr marL="0" indent="0">
              <a:lnSpc>
                <a:spcPct val="79000"/>
              </a:lnSpc>
              <a:spcBef>
                <a:spcPts val="0"/>
              </a:spcBef>
              <a:buFontTx/>
              <a:buNone/>
              <a:defRPr sz="7200" b="0" cap="all" spc="80" baseline="0">
                <a:latin typeface="+mj-l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200" b="1" cap="all" baseline="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sz="2400" b="0">
                <a:solidFill>
                  <a:schemeClr val="accent5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defRPr sz="1300"/>
            </a:lvl5pPr>
            <a:lvl6pPr marL="0">
              <a:lnSpc>
                <a:spcPct val="100000"/>
              </a:lnSpc>
              <a:defRPr sz="1300"/>
            </a:lvl6pPr>
            <a:lvl7pPr marL="0">
              <a:lnSpc>
                <a:spcPct val="100000"/>
              </a:lnSpc>
              <a:defRPr sz="1300"/>
            </a:lvl7pPr>
            <a:lvl8pPr marL="0">
              <a:lnSpc>
                <a:spcPct val="100000"/>
              </a:lnSpc>
              <a:defRPr sz="1300"/>
            </a:lvl8pPr>
            <a:lvl9pPr marL="0">
              <a:lnSpc>
                <a:spcPct val="100000"/>
              </a:lnSpc>
              <a:defRPr sz="1300"/>
            </a:lvl9pPr>
          </a:lstStyle>
          <a:p>
            <a:pPr lvl="0"/>
            <a:r>
              <a:rPr lang="nl-NL"/>
              <a:t>Titel</a:t>
            </a:r>
          </a:p>
          <a:p>
            <a:pPr lvl="1"/>
            <a:r>
              <a:rPr lang="nl-NL" err="1"/>
              <a:t>Bold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61621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introductie_3p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778062B3-327F-0D45-9D00-0BEBCCCAB97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863850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38" name="Picture Placeholder 36">
            <a:extLst>
              <a:ext uri="{FF2B5EF4-FFF2-40B4-BE49-F238E27FC236}">
                <a16:creationId xmlns:a16="http://schemas.microsoft.com/office/drawing/2014/main" id="{E8986881-8B6F-1142-A0AB-CF81F7AC91C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317675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39" name="Picture Placeholder 36">
            <a:extLst>
              <a:ext uri="{FF2B5EF4-FFF2-40B4-BE49-F238E27FC236}">
                <a16:creationId xmlns:a16="http://schemas.microsoft.com/office/drawing/2014/main" id="{AE147C21-0397-EE4B-840D-C74004CB2AA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772044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0FF533-6BF8-B84B-BC85-B3293073C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Rechthoek 6">
            <a:extLst>
              <a:ext uri="{FF2B5EF4-FFF2-40B4-BE49-F238E27FC236}">
                <a16:creationId xmlns:a16="http://schemas.microsoft.com/office/drawing/2014/main" id="{0C64D1FC-D14C-F842-B7C7-BA28E7E14F44}"/>
              </a:ext>
            </a:extLst>
          </p:cNvPr>
          <p:cNvSpPr/>
          <p:nvPr userDrawn="1"/>
        </p:nvSpPr>
        <p:spPr>
          <a:xfrm>
            <a:off x="2627140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itel 4">
            <a:extLst>
              <a:ext uri="{FF2B5EF4-FFF2-40B4-BE49-F238E27FC236}">
                <a16:creationId xmlns:a16="http://schemas.microsoft.com/office/drawing/2014/main" id="{39904768-0A8E-6B4E-9B13-14615E94F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Team –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3 personen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48BE616-AFF4-5B40-BB1C-89DEABCB83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9245E2C-6DA7-0244-BCD6-F49972437C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3769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BBAFBFC-6669-E942-B0C7-91E147B5CD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53769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136DE88-D18D-B04C-8017-B07486348B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53769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  <p:sp>
        <p:nvSpPr>
          <p:cNvPr id="26" name="Rechthoek 6">
            <a:extLst>
              <a:ext uri="{FF2B5EF4-FFF2-40B4-BE49-F238E27FC236}">
                <a16:creationId xmlns:a16="http://schemas.microsoft.com/office/drawing/2014/main" id="{742D9323-E269-BD44-9382-31717A9ED263}"/>
              </a:ext>
            </a:extLst>
          </p:cNvPr>
          <p:cNvSpPr/>
          <p:nvPr userDrawn="1"/>
        </p:nvSpPr>
        <p:spPr>
          <a:xfrm>
            <a:off x="5081509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D874742A-8F2F-CF4A-82FE-C084EBEC7D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8138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8E7D2A73-6E5E-A648-BC54-274AC054DC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08138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A91E91B2-14F8-E542-9C8A-B0B3E396B4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08138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  <p:sp>
        <p:nvSpPr>
          <p:cNvPr id="31" name="Rechthoek 6">
            <a:extLst>
              <a:ext uri="{FF2B5EF4-FFF2-40B4-BE49-F238E27FC236}">
                <a16:creationId xmlns:a16="http://schemas.microsoft.com/office/drawing/2014/main" id="{FBE4E6D7-A359-9043-84D4-D0DC4653D27D}"/>
              </a:ext>
            </a:extLst>
          </p:cNvPr>
          <p:cNvSpPr/>
          <p:nvPr userDrawn="1"/>
        </p:nvSpPr>
        <p:spPr>
          <a:xfrm>
            <a:off x="7535878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A5982FB9-C8A2-3E4D-A74F-D3DA00AA72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62507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93CA073C-5E39-C146-940E-6EAFD7ECC2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62507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26A6F5C4-6AA1-A240-B1C5-64F57A121EA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62507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0900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_introductie_3p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778062B3-327F-0D45-9D00-0BEBCCCAB97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543050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38" name="Picture Placeholder 36">
            <a:extLst>
              <a:ext uri="{FF2B5EF4-FFF2-40B4-BE49-F238E27FC236}">
                <a16:creationId xmlns:a16="http://schemas.microsoft.com/office/drawing/2014/main" id="{E8986881-8B6F-1142-A0AB-CF81F7AC91C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996875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39" name="Picture Placeholder 36">
            <a:extLst>
              <a:ext uri="{FF2B5EF4-FFF2-40B4-BE49-F238E27FC236}">
                <a16:creationId xmlns:a16="http://schemas.microsoft.com/office/drawing/2014/main" id="{AE147C21-0397-EE4B-840D-C74004CB2AA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51244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0FF533-6BF8-B84B-BC85-B3293073C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Rechthoek 6">
            <a:extLst>
              <a:ext uri="{FF2B5EF4-FFF2-40B4-BE49-F238E27FC236}">
                <a16:creationId xmlns:a16="http://schemas.microsoft.com/office/drawing/2014/main" id="{0C64D1FC-D14C-F842-B7C7-BA28E7E14F44}"/>
              </a:ext>
            </a:extLst>
          </p:cNvPr>
          <p:cNvSpPr/>
          <p:nvPr userDrawn="1"/>
        </p:nvSpPr>
        <p:spPr>
          <a:xfrm>
            <a:off x="1306340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itel 4">
            <a:extLst>
              <a:ext uri="{FF2B5EF4-FFF2-40B4-BE49-F238E27FC236}">
                <a16:creationId xmlns:a16="http://schemas.microsoft.com/office/drawing/2014/main" id="{39904768-0A8E-6B4E-9B13-14615E94F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Team –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4 personen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48BE616-AFF4-5B40-BB1C-89DEABCB83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9245E2C-6DA7-0244-BCD6-F49972437C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2969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BBAFBFC-6669-E942-B0C7-91E147B5CD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32969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136DE88-D18D-B04C-8017-B07486348B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2969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  <p:sp>
        <p:nvSpPr>
          <p:cNvPr id="26" name="Rechthoek 6">
            <a:extLst>
              <a:ext uri="{FF2B5EF4-FFF2-40B4-BE49-F238E27FC236}">
                <a16:creationId xmlns:a16="http://schemas.microsoft.com/office/drawing/2014/main" id="{742D9323-E269-BD44-9382-31717A9ED263}"/>
              </a:ext>
            </a:extLst>
          </p:cNvPr>
          <p:cNvSpPr/>
          <p:nvPr userDrawn="1"/>
        </p:nvSpPr>
        <p:spPr>
          <a:xfrm>
            <a:off x="3760709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D874742A-8F2F-CF4A-82FE-C084EBEC7D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87338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8E7D2A73-6E5E-A648-BC54-274AC054DC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87338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A91E91B2-14F8-E542-9C8A-B0B3E396B4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87338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  <p:sp>
        <p:nvSpPr>
          <p:cNvPr id="31" name="Rechthoek 6">
            <a:extLst>
              <a:ext uri="{FF2B5EF4-FFF2-40B4-BE49-F238E27FC236}">
                <a16:creationId xmlns:a16="http://schemas.microsoft.com/office/drawing/2014/main" id="{FBE4E6D7-A359-9043-84D4-D0DC4653D27D}"/>
              </a:ext>
            </a:extLst>
          </p:cNvPr>
          <p:cNvSpPr/>
          <p:nvPr userDrawn="1"/>
        </p:nvSpPr>
        <p:spPr>
          <a:xfrm>
            <a:off x="6215078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A5982FB9-C8A2-3E4D-A74F-D3DA00AA72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41707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93CA073C-5E39-C146-940E-6EAFD7ECC2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1707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26A6F5C4-6AA1-A240-B1C5-64F57A121EA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1707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3C40D71C-DAC8-2144-A82F-F16A48571EF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905010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24" name="Rechthoek 6">
            <a:extLst>
              <a:ext uri="{FF2B5EF4-FFF2-40B4-BE49-F238E27FC236}">
                <a16:creationId xmlns:a16="http://schemas.microsoft.com/office/drawing/2014/main" id="{F1EF5A9D-66DB-144D-BC76-E218DF3525C5}"/>
              </a:ext>
            </a:extLst>
          </p:cNvPr>
          <p:cNvSpPr/>
          <p:nvPr userDrawn="1"/>
        </p:nvSpPr>
        <p:spPr>
          <a:xfrm>
            <a:off x="8668844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F12CE4C7-089E-B44C-BE6B-65223A5C9E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95473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C7A0D2BE-7706-DB4F-BA2F-FCF51CAF606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95473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3CD3C881-24E8-AC48-98F9-6EDC13B3F13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95473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0793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jf businessproposities (oranj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AA401040-EB21-844D-B34B-B0ADB4A367F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48225" y="4213216"/>
            <a:ext cx="2040251" cy="1194893"/>
          </a:xfrm>
        </p:spPr>
        <p:txBody>
          <a:bodyPr/>
          <a:lstStyle>
            <a:lvl1pPr marL="0" indent="0" algn="ctr">
              <a:buFontTx/>
              <a:buNone/>
              <a:defRPr lang="nl-NL" sz="1200" dirty="0"/>
            </a:lvl1pPr>
          </a:lstStyle>
          <a:p>
            <a:pPr marL="0" lvl="0" indent="0" algn="ctr">
              <a:buNone/>
            </a:pPr>
            <a:r>
              <a:rPr lang="nl-NL" sz="1200">
                <a:latin typeface="+mn-lt"/>
              </a:rPr>
              <a:t>Informatiebeveiliging en kwaliteitseisen geborgd vanuit techniek, organisatorische vraagstukken en personele aspecten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71B18527-481D-A14B-8F82-91EF4F79BF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8421" y="4213216"/>
            <a:ext cx="2015995" cy="1194893"/>
          </a:xfrm>
        </p:spPr>
        <p:txBody>
          <a:bodyPr/>
          <a:lstStyle>
            <a:lvl1pPr marL="0" indent="0" algn="ctr">
              <a:buFontTx/>
              <a:buNone/>
              <a:defRPr lang="nl-NL" sz="1200" b="0" kern="1200" baseline="0" dirty="0">
                <a:solidFill>
                  <a:schemeClr val="tx1"/>
                </a:solidFill>
              </a:defRPr>
            </a:lvl1pPr>
          </a:lstStyle>
          <a:p>
            <a:pPr marL="0" indent="0" algn="ctr">
              <a:buNone/>
            </a:pPr>
            <a:r>
              <a:rPr lang="nl-NL" sz="1200"/>
              <a:t>Ontdekken, realiseren en verankeren van meerwaarde voor het opzetten en uitvoeren van uw digitale strategie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81C09D2A-A57D-C546-8644-244E7A2DC6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09337" y="4213216"/>
            <a:ext cx="2015998" cy="1194893"/>
          </a:xfrm>
        </p:spPr>
        <p:txBody>
          <a:bodyPr/>
          <a:lstStyle>
            <a:lvl1pPr marL="0" indent="0" algn="ctr">
              <a:buFontTx/>
              <a:buNone/>
              <a:defRPr lang="nl-NL" sz="1200" b="0" dirty="0"/>
            </a:lvl1pPr>
          </a:lstStyle>
          <a:p>
            <a:pPr marL="0" indent="0" algn="ctr">
              <a:buNone/>
            </a:pPr>
            <a:r>
              <a:rPr lang="nl-NL" sz="1200" b="0">
                <a:latin typeface="+mn-lt"/>
              </a:rPr>
              <a:t>Laat data voor u werken in de digitale transiti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A26444-C99C-8147-BF39-806E53857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grpSp>
        <p:nvGrpSpPr>
          <p:cNvPr id="11" name="Groep 45">
            <a:extLst>
              <a:ext uri="{FF2B5EF4-FFF2-40B4-BE49-F238E27FC236}">
                <a16:creationId xmlns:a16="http://schemas.microsoft.com/office/drawing/2014/main" id="{E391F46D-8ECD-F24A-8467-2202A70C336D}"/>
              </a:ext>
            </a:extLst>
          </p:cNvPr>
          <p:cNvGrpSpPr/>
          <p:nvPr userDrawn="1"/>
        </p:nvGrpSpPr>
        <p:grpSpPr>
          <a:xfrm>
            <a:off x="2547028" y="1955455"/>
            <a:ext cx="7032930" cy="3859579"/>
            <a:chOff x="2547028" y="2351937"/>
            <a:chExt cx="7032930" cy="4451635"/>
          </a:xfrm>
        </p:grpSpPr>
        <p:cxnSp>
          <p:nvCxnSpPr>
            <p:cNvPr id="12" name="Rechte verbindingslijn 22">
              <a:extLst>
                <a:ext uri="{FF2B5EF4-FFF2-40B4-BE49-F238E27FC236}">
                  <a16:creationId xmlns:a16="http://schemas.microsoft.com/office/drawing/2014/main" id="{CC7C919B-2015-344F-B376-D700798A5356}"/>
                </a:ext>
              </a:extLst>
            </p:cNvPr>
            <p:cNvCxnSpPr/>
            <p:nvPr/>
          </p:nvCxnSpPr>
          <p:spPr>
            <a:xfrm>
              <a:off x="2547028" y="238945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Rechte verbindingslijn 23">
              <a:extLst>
                <a:ext uri="{FF2B5EF4-FFF2-40B4-BE49-F238E27FC236}">
                  <a16:creationId xmlns:a16="http://schemas.microsoft.com/office/drawing/2014/main" id="{8127622E-9B6F-744E-B410-49073DF4CE73}"/>
                </a:ext>
              </a:extLst>
            </p:cNvPr>
            <p:cNvCxnSpPr/>
            <p:nvPr/>
          </p:nvCxnSpPr>
          <p:spPr>
            <a:xfrm>
              <a:off x="4887642" y="236659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Rechte verbindingslijn 24">
              <a:extLst>
                <a:ext uri="{FF2B5EF4-FFF2-40B4-BE49-F238E27FC236}">
                  <a16:creationId xmlns:a16="http://schemas.microsoft.com/office/drawing/2014/main" id="{23E05130-2268-7F47-BDA7-82AF10ED08B5}"/>
                </a:ext>
              </a:extLst>
            </p:cNvPr>
            <p:cNvCxnSpPr/>
            <p:nvPr/>
          </p:nvCxnSpPr>
          <p:spPr>
            <a:xfrm>
              <a:off x="7225198" y="236659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Rechte verbindingslijn 25">
              <a:extLst>
                <a:ext uri="{FF2B5EF4-FFF2-40B4-BE49-F238E27FC236}">
                  <a16:creationId xmlns:a16="http://schemas.microsoft.com/office/drawing/2014/main" id="{D56F5690-FB78-514F-8986-33E976709A0A}"/>
                </a:ext>
              </a:extLst>
            </p:cNvPr>
            <p:cNvCxnSpPr/>
            <p:nvPr/>
          </p:nvCxnSpPr>
          <p:spPr>
            <a:xfrm>
              <a:off x="9579958" y="235193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708E678A-FFA4-E549-80FB-2D3BC0F3A3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3593" y="2099811"/>
            <a:ext cx="1329189" cy="132918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8E99A0E-E5FD-BE4A-9F5A-D6E4053ECF1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14803" y="2099811"/>
            <a:ext cx="1329189" cy="132918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551933D-57FE-8043-87DE-0815D4500A7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31405" y="2099811"/>
            <a:ext cx="1329189" cy="1329189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5BABC52E-D284-1C42-A5FB-FBCCD2F9282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1536" y="2099811"/>
            <a:ext cx="1329189" cy="132918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6EF02F0-D869-D540-B81E-7A77CD97EC1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36295" y="2099811"/>
            <a:ext cx="1329189" cy="1329189"/>
          </a:xfrm>
          <a:prstGeom prst="rect">
            <a:avLst/>
          </a:prstGeom>
        </p:spPr>
      </p:pic>
      <p:sp>
        <p:nvSpPr>
          <p:cNvPr id="21" name="Titel 4">
            <a:extLst>
              <a:ext uri="{FF2B5EF4-FFF2-40B4-BE49-F238E27FC236}">
                <a16:creationId xmlns:a16="http://schemas.microsoft.com/office/drawing/2014/main" id="{A35A27CF-E5B2-7C48-9913-E0DBEBE0C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Onze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 vijf businessproposities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2DE61DF-D1C4-384F-84A1-311A9D518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C52AA1E-7FE4-1444-B6D8-83D6835467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647" y="3531784"/>
            <a:ext cx="2040252" cy="458787"/>
          </a:xfrm>
        </p:spPr>
        <p:txBody>
          <a:bodyPr/>
          <a:lstStyle>
            <a:lvl1pPr marL="0" indent="0" algn="ctr">
              <a:buNone/>
              <a:defRPr sz="12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High performance</a:t>
            </a:r>
          </a:p>
          <a:p>
            <a:pPr lvl="0"/>
            <a:r>
              <a:rPr lang="en-GB"/>
              <a:t>teams</a:t>
            </a:r>
            <a:endParaRPr lang="nl-NL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0433BC92-E0D2-1242-8A93-7F92988ECB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647" y="4213216"/>
            <a:ext cx="2040251" cy="1194893"/>
          </a:xfrm>
        </p:spPr>
        <p:txBody>
          <a:bodyPr/>
          <a:lstStyle>
            <a:lvl1pPr marL="0" indent="0" algn="ctr">
              <a:buFontTx/>
              <a:buNone/>
              <a:defRPr lang="nl-NL" sz="1200" b="0" dirty="0">
                <a:solidFill>
                  <a:schemeClr val="tx1"/>
                </a:solidFill>
              </a:defRPr>
            </a:lvl1pPr>
          </a:lstStyle>
          <a:p>
            <a:pPr marL="0" indent="0" algn="ctr">
              <a:buFontTx/>
              <a:buNone/>
            </a:pPr>
            <a:r>
              <a:rPr lang="nl-NL" sz="1200" b="0">
                <a:latin typeface="+mn-lt"/>
              </a:rPr>
              <a:t>Verbeter de performance met multidisciplinaire teams die snel waarde creëren voor elke organisatie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A42B40C-B3C8-9943-A8C7-A6CAE01A0F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9336" y="3531784"/>
            <a:ext cx="2015999" cy="458787"/>
          </a:xfrm>
        </p:spPr>
        <p:txBody>
          <a:bodyPr/>
          <a:lstStyle>
            <a:lvl1pPr marL="0" indent="0" algn="ctr">
              <a:buNone/>
              <a:defRPr lang="nl-NL" sz="1200" b="1" i="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Intelligente</a:t>
            </a:r>
          </a:p>
          <a:p>
            <a:pPr mar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datagedreven organisati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ACF55A07-249E-124E-B2E8-56C0E10F05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48421" y="3531784"/>
            <a:ext cx="2015999" cy="458787"/>
          </a:xfrm>
        </p:spPr>
        <p:txBody>
          <a:bodyPr/>
          <a:lstStyle>
            <a:lvl1pPr marL="0" indent="0" algn="ctr">
              <a:buNone/>
              <a:defRPr lang="nl-NL" sz="1200" b="1" i="0" kern="1200" baseline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Digitale </a:t>
            </a:r>
            <a:endParaRPr lang="nl-NL" sz="1200" b="1" noProof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lv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acceleratie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F9102AFA-1CDC-2A40-B037-C918E891EC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93465" y="4213216"/>
            <a:ext cx="2015995" cy="1194893"/>
          </a:xfrm>
        </p:spPr>
        <p:txBody>
          <a:bodyPr/>
          <a:lstStyle>
            <a:lvl1pPr marL="0" indent="0" algn="ctr">
              <a:buFontTx/>
              <a:buNone/>
              <a:defRPr lang="nl-NL" sz="1200" i="0" dirty="0">
                <a:solidFill>
                  <a:schemeClr val="tx1"/>
                </a:solidFill>
              </a:defRPr>
            </a:lvl1pPr>
          </a:lstStyle>
          <a:p>
            <a:pPr marL="0" indent="0" algn="ctr">
              <a:buFontTx/>
              <a:buNone/>
            </a:pPr>
            <a:r>
              <a:rPr lang="nl-NL" sz="1200" i="0">
                <a:solidFill>
                  <a:schemeClr val="tx1"/>
                </a:solidFill>
                <a:latin typeface="+mn-lt"/>
              </a:rPr>
              <a:t>Creëer toevoegde waarde met veilige, robuuste en schaalbare IT business platforms om de concurrentie voor te blijven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22906776-7CDE-6245-B475-60D8D51726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95693" y="3531784"/>
            <a:ext cx="2015999" cy="458787"/>
          </a:xfrm>
        </p:spPr>
        <p:txBody>
          <a:bodyPr/>
          <a:lstStyle>
            <a:lvl1pPr marL="0" indent="0" algn="ctr">
              <a:buFontTx/>
              <a:buNone/>
              <a:defRPr lang="nl-NL" sz="1200" b="1" i="0" kern="1200" baseline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Business </a:t>
            </a:r>
            <a:endParaRPr lang="nl-NL" sz="1200" b="1" noProof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platforms</a:t>
            </a:r>
          </a:p>
          <a:p>
            <a:pPr marL="0" lvl="0" indent="0" algn="ctr">
              <a:buNone/>
            </a:pPr>
            <a:endParaRPr lang="nl-NL" sz="1200" noProof="0"/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ACB71343-5D88-EA45-807B-07EB28233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48225" y="3531784"/>
            <a:ext cx="2040252" cy="458787"/>
          </a:xfrm>
        </p:spPr>
        <p:txBody>
          <a:bodyPr/>
          <a:lstStyle>
            <a:lvl1pPr marL="0" indent="0" algn="ctr">
              <a:buNone/>
              <a:defRPr lang="nl-NL" sz="1200" b="1" i="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Cybersecurity &amp; </a:t>
            </a:r>
            <a:endParaRPr lang="nl-NL" sz="1200" b="1" noProof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lvl="0" indent="0" algn="ctr">
              <a:buNone/>
            </a:pPr>
            <a:r>
              <a:rPr lang="nl-NL" sz="1200" b="1" noProof="0">
                <a:solidFill>
                  <a:schemeClr val="accent1"/>
                </a:solidFill>
                <a:latin typeface="Roboto"/>
                <a:ea typeface="Roboto" panose="02000000000000000000" pitchFamily="2" charset="0"/>
              </a:rPr>
              <a:t>Compliance</a:t>
            </a:r>
          </a:p>
        </p:txBody>
      </p:sp>
    </p:spTree>
    <p:extLst>
      <p:ext uri="{BB962C8B-B14F-4D97-AF65-F5344CB8AC3E}">
        <p14:creationId xmlns:p14="http://schemas.microsoft.com/office/powerpoint/2010/main" val="40653038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jf businessproposities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4B2D1F44-1577-8649-9678-AAD8932CC5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5295" y="3531784"/>
            <a:ext cx="2010039" cy="458787"/>
          </a:xfrm>
        </p:spPr>
        <p:txBody>
          <a:bodyPr/>
          <a:lstStyle>
            <a:lvl1pPr marL="0" indent="0" algn="ctr">
              <a:buNone/>
              <a:defRPr sz="1200" b="1" i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Intelligente</a:t>
            </a:r>
            <a:r>
              <a:rPr lang="en-GB"/>
              <a:t> </a:t>
            </a:r>
          </a:p>
          <a:p>
            <a:pPr lvl="0"/>
            <a:r>
              <a:rPr lang="en-GB" err="1"/>
              <a:t>datagedreven</a:t>
            </a:r>
            <a:r>
              <a:rPr lang="en-GB"/>
              <a:t> </a:t>
            </a:r>
            <a:r>
              <a:rPr lang="en-GB" err="1"/>
              <a:t>organisaties</a:t>
            </a:r>
            <a:endParaRPr lang="nl-NL"/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AA401040-EB21-844D-B34B-B0ADB4A367F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48225" y="4213216"/>
            <a:ext cx="2040251" cy="1194893"/>
          </a:xfrm>
        </p:spPr>
        <p:txBody>
          <a:bodyPr/>
          <a:lstStyle>
            <a:lvl1pPr marL="0" indent="0" algn="ctr">
              <a:buFontTx/>
              <a:buNone/>
              <a:defRPr lang="nl-NL" sz="1200" dirty="0"/>
            </a:lvl1pPr>
          </a:lstStyle>
          <a:p>
            <a:pPr marL="0" lvl="0" indent="0" algn="ctr">
              <a:buNone/>
            </a:pPr>
            <a:r>
              <a:rPr lang="nl-NL" sz="1200">
                <a:latin typeface="+mn-lt"/>
              </a:rPr>
              <a:t>Informatiebeveiliging en kwaliteitseisen geborgd vanuit techniek, organisatorische vraagstukken en personele aspecten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71B18527-481D-A14B-8F82-91EF4F79BF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8421" y="4213216"/>
            <a:ext cx="2015995" cy="1194893"/>
          </a:xfrm>
        </p:spPr>
        <p:txBody>
          <a:bodyPr/>
          <a:lstStyle>
            <a:lvl1pPr marL="0" indent="0" algn="ctr">
              <a:buFontTx/>
              <a:buNone/>
              <a:defRPr lang="nl-NL" sz="1200" b="0" kern="1200" baseline="0" dirty="0">
                <a:solidFill>
                  <a:schemeClr val="tx1"/>
                </a:solidFill>
              </a:defRPr>
            </a:lvl1pPr>
          </a:lstStyle>
          <a:p>
            <a:pPr marL="0" indent="0" algn="ctr">
              <a:buNone/>
            </a:pPr>
            <a:r>
              <a:rPr lang="nl-NL" sz="1200"/>
              <a:t>Ontdekken, realiseren en verankeren van meerwaarde voor het opzetten en uitvoeren van uw digitale strategie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81C09D2A-A57D-C546-8644-244E7A2DC6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09337" y="4213216"/>
            <a:ext cx="2015998" cy="1194893"/>
          </a:xfrm>
        </p:spPr>
        <p:txBody>
          <a:bodyPr/>
          <a:lstStyle>
            <a:lvl1pPr marL="0" indent="0" algn="ctr">
              <a:buFontTx/>
              <a:buNone/>
              <a:defRPr lang="nl-NL" sz="1200" b="0" dirty="0"/>
            </a:lvl1pPr>
          </a:lstStyle>
          <a:p>
            <a:pPr marL="0" indent="0" algn="ctr">
              <a:buNone/>
            </a:pPr>
            <a:r>
              <a:rPr lang="nl-NL" sz="1200" b="0">
                <a:latin typeface="+mn-lt"/>
              </a:rPr>
              <a:t>Laat data voor u werken in de digitale transiti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A26444-C99C-8147-BF39-806E53857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grpSp>
        <p:nvGrpSpPr>
          <p:cNvPr id="11" name="Groep 45">
            <a:extLst>
              <a:ext uri="{FF2B5EF4-FFF2-40B4-BE49-F238E27FC236}">
                <a16:creationId xmlns:a16="http://schemas.microsoft.com/office/drawing/2014/main" id="{E391F46D-8ECD-F24A-8467-2202A70C336D}"/>
              </a:ext>
            </a:extLst>
          </p:cNvPr>
          <p:cNvGrpSpPr/>
          <p:nvPr userDrawn="1"/>
        </p:nvGrpSpPr>
        <p:grpSpPr>
          <a:xfrm>
            <a:off x="2547028" y="1955455"/>
            <a:ext cx="7032930" cy="3859579"/>
            <a:chOff x="2547028" y="2351937"/>
            <a:chExt cx="7032930" cy="4451635"/>
          </a:xfrm>
        </p:grpSpPr>
        <p:cxnSp>
          <p:nvCxnSpPr>
            <p:cNvPr id="12" name="Rechte verbindingslijn 22">
              <a:extLst>
                <a:ext uri="{FF2B5EF4-FFF2-40B4-BE49-F238E27FC236}">
                  <a16:creationId xmlns:a16="http://schemas.microsoft.com/office/drawing/2014/main" id="{CC7C919B-2015-344F-B376-D700798A5356}"/>
                </a:ext>
              </a:extLst>
            </p:cNvPr>
            <p:cNvCxnSpPr/>
            <p:nvPr/>
          </p:nvCxnSpPr>
          <p:spPr>
            <a:xfrm>
              <a:off x="2547028" y="238945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Rechte verbindingslijn 23">
              <a:extLst>
                <a:ext uri="{FF2B5EF4-FFF2-40B4-BE49-F238E27FC236}">
                  <a16:creationId xmlns:a16="http://schemas.microsoft.com/office/drawing/2014/main" id="{8127622E-9B6F-744E-B410-49073DF4CE73}"/>
                </a:ext>
              </a:extLst>
            </p:cNvPr>
            <p:cNvCxnSpPr/>
            <p:nvPr/>
          </p:nvCxnSpPr>
          <p:spPr>
            <a:xfrm>
              <a:off x="4887642" y="236659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Rechte verbindingslijn 24">
              <a:extLst>
                <a:ext uri="{FF2B5EF4-FFF2-40B4-BE49-F238E27FC236}">
                  <a16:creationId xmlns:a16="http://schemas.microsoft.com/office/drawing/2014/main" id="{23E05130-2268-7F47-BDA7-82AF10ED08B5}"/>
                </a:ext>
              </a:extLst>
            </p:cNvPr>
            <p:cNvCxnSpPr/>
            <p:nvPr/>
          </p:nvCxnSpPr>
          <p:spPr>
            <a:xfrm>
              <a:off x="7225198" y="236659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Rechte verbindingslijn 25">
              <a:extLst>
                <a:ext uri="{FF2B5EF4-FFF2-40B4-BE49-F238E27FC236}">
                  <a16:creationId xmlns:a16="http://schemas.microsoft.com/office/drawing/2014/main" id="{D56F5690-FB78-514F-8986-33E976709A0A}"/>
                </a:ext>
              </a:extLst>
            </p:cNvPr>
            <p:cNvCxnSpPr/>
            <p:nvPr/>
          </p:nvCxnSpPr>
          <p:spPr>
            <a:xfrm>
              <a:off x="9579958" y="2351937"/>
              <a:ext cx="0" cy="441411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708E678A-FFA4-E549-80FB-2D3BC0F3A3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53593" y="2099811"/>
            <a:ext cx="1329189" cy="132918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8E99A0E-E5FD-BE4A-9F5A-D6E4053ECF1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014803" y="2099811"/>
            <a:ext cx="1329189" cy="132918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551933D-57FE-8043-87DE-0815D4500A7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431405" y="2099811"/>
            <a:ext cx="1329189" cy="1329189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5BABC52E-D284-1C42-A5FB-FBCCD2F9282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81536" y="2099811"/>
            <a:ext cx="1329189" cy="132918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6EF02F0-D869-D540-B81E-7A77CD97EC1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036295" y="2099811"/>
            <a:ext cx="1329189" cy="1329189"/>
          </a:xfrm>
          <a:prstGeom prst="rect">
            <a:avLst/>
          </a:prstGeom>
        </p:spPr>
      </p:pic>
      <p:sp>
        <p:nvSpPr>
          <p:cNvPr id="21" name="Titel 4">
            <a:extLst>
              <a:ext uri="{FF2B5EF4-FFF2-40B4-BE49-F238E27FC236}">
                <a16:creationId xmlns:a16="http://schemas.microsoft.com/office/drawing/2014/main" id="{A35A27CF-E5B2-7C48-9913-E0DBEBE0C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Onze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 vijf businessproposities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2DE61DF-D1C4-384F-84A1-311A9D518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C52AA1E-7FE4-1444-B6D8-83D6835467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647" y="3531784"/>
            <a:ext cx="2040252" cy="458787"/>
          </a:xfrm>
        </p:spPr>
        <p:txBody>
          <a:bodyPr/>
          <a:lstStyle>
            <a:lvl1pPr marL="0" indent="0" algn="ctr">
              <a:buNone/>
              <a:defRPr sz="1200" b="1" i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Aharoni" panose="02010803020104030203" pitchFamily="2" charset="-79"/>
              </a:defRPr>
            </a:lvl1pPr>
          </a:lstStyle>
          <a:p>
            <a:pPr lvl="0"/>
            <a:r>
              <a:rPr lang="en-GB"/>
              <a:t>High performance</a:t>
            </a:r>
          </a:p>
          <a:p>
            <a:pPr lvl="0"/>
            <a:r>
              <a:rPr lang="en-GB"/>
              <a:t>teams</a:t>
            </a:r>
            <a:endParaRPr lang="nl-NL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0433BC92-E0D2-1242-8A93-7F92988ECB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647" y="4213216"/>
            <a:ext cx="2040251" cy="1194893"/>
          </a:xfrm>
        </p:spPr>
        <p:txBody>
          <a:bodyPr/>
          <a:lstStyle>
            <a:lvl1pPr marL="0" indent="0" algn="ctr">
              <a:buFontTx/>
              <a:buNone/>
              <a:defRPr lang="nl-NL" sz="1200" b="0" dirty="0">
                <a:solidFill>
                  <a:schemeClr val="tx1"/>
                </a:solidFill>
              </a:defRPr>
            </a:lvl1pPr>
          </a:lstStyle>
          <a:p>
            <a:pPr marL="0" indent="0" algn="ctr">
              <a:buFontTx/>
              <a:buNone/>
            </a:pPr>
            <a:r>
              <a:rPr lang="nl-NL" sz="1200" b="0">
                <a:latin typeface="+mn-lt"/>
              </a:rPr>
              <a:t>Verbeter de performance met multidisciplinaire teams die snel waarde creëren voor elke organisatie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F9102AFA-1CDC-2A40-B037-C918E891EC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93465" y="4213216"/>
            <a:ext cx="2015995" cy="1194893"/>
          </a:xfrm>
        </p:spPr>
        <p:txBody>
          <a:bodyPr/>
          <a:lstStyle>
            <a:lvl1pPr marL="0" indent="0" algn="ctr">
              <a:buFontTx/>
              <a:buNone/>
              <a:defRPr lang="nl-NL" sz="1200" i="0" dirty="0">
                <a:solidFill>
                  <a:schemeClr val="tx1"/>
                </a:solidFill>
              </a:defRPr>
            </a:lvl1pPr>
          </a:lstStyle>
          <a:p>
            <a:pPr marL="0" indent="0" algn="ctr">
              <a:buFontTx/>
              <a:buNone/>
            </a:pPr>
            <a:r>
              <a:rPr lang="nl-NL" sz="1200" i="0">
                <a:solidFill>
                  <a:schemeClr val="tx1"/>
                </a:solidFill>
                <a:latin typeface="+mn-lt"/>
              </a:rPr>
              <a:t>Creëer toevoegde waarde met veilige, robuuste en schaalbare IT business platforms om de concurrentie voor te blijven</a:t>
            </a:r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93EEA22E-B4D0-8F43-8C5A-A661EC1EFF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42799" y="3531784"/>
            <a:ext cx="2010039" cy="458787"/>
          </a:xfrm>
        </p:spPr>
        <p:txBody>
          <a:bodyPr/>
          <a:lstStyle>
            <a:lvl1pPr marL="0" indent="0" algn="ctr">
              <a:buNone/>
              <a:defRPr sz="1200" b="1" i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Digitale</a:t>
            </a:r>
            <a:r>
              <a:rPr lang="en-GB"/>
              <a:t> </a:t>
            </a:r>
          </a:p>
          <a:p>
            <a:pPr lvl="0"/>
            <a:r>
              <a:rPr lang="en-GB" err="1"/>
              <a:t>acceleratie</a:t>
            </a:r>
            <a:endParaRPr lang="nl-NL"/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49849BF7-2BCF-0F4B-8BDE-0F6C8373F6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93465" y="3531784"/>
            <a:ext cx="2024184" cy="458787"/>
          </a:xfrm>
        </p:spPr>
        <p:txBody>
          <a:bodyPr/>
          <a:lstStyle>
            <a:lvl1pPr marL="0" indent="0" algn="ctr">
              <a:buNone/>
              <a:defRPr sz="1200" b="1" i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Business </a:t>
            </a:r>
          </a:p>
          <a:p>
            <a:pPr lvl="0"/>
            <a:r>
              <a:rPr lang="en-GB"/>
              <a:t>platforms</a:t>
            </a:r>
            <a:endParaRPr lang="nl-NL"/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1F1065C8-C44E-6A4F-87E3-981CDDA513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48225" y="3531784"/>
            <a:ext cx="2040248" cy="458787"/>
          </a:xfrm>
        </p:spPr>
        <p:txBody>
          <a:bodyPr/>
          <a:lstStyle>
            <a:lvl1pPr marL="0" indent="0" algn="ctr">
              <a:buNone/>
              <a:defRPr sz="1200" b="1" i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Aharoni" panose="02010803020104030203" pitchFamily="2" charset="-79"/>
              </a:defRPr>
            </a:lvl1pPr>
          </a:lstStyle>
          <a:p>
            <a:pPr lvl="0"/>
            <a:r>
              <a:rPr lang="en-GB"/>
              <a:t>Cybersecurity &amp; </a:t>
            </a:r>
          </a:p>
          <a:p>
            <a:pPr lvl="0"/>
            <a:r>
              <a:rPr lang="en-GB"/>
              <a:t>Complianc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44625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k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2391E0BB-9DEE-4146-BD61-20696A3E6BD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7700" y="1909332"/>
            <a:ext cx="11028363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5F9375-CB2D-5540-AF06-70030D114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A533F23A-230B-2C43-8A2C-E462772B6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AC11AA5-6AB1-8442-9829-FED05CC827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768993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(2-kolo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FCA3D2-B173-8B46-AFB8-55CDB547C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1485A9C4-AC67-1A49-BD6D-8BCB6126E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2CC8B5D-783C-F642-9CD8-B01CC1E750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C15EB2B-9840-B845-A1E8-38B2A6E37B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1909332"/>
            <a:ext cx="11028363" cy="3819525"/>
          </a:xfrm>
        </p:spPr>
        <p:txBody>
          <a:bodyPr numCol="2" spcCol="360000"/>
          <a:lstStyle>
            <a:lvl1pPr marL="0" indent="0">
              <a:buNone/>
              <a:defRPr sz="1400"/>
            </a:lvl1pPr>
          </a:lstStyle>
          <a:p>
            <a:pPr lvl="0"/>
            <a:r>
              <a:rPr lang="nl-NL"/>
              <a:t>[Tekst (2-kolomsindeling)]</a:t>
            </a:r>
          </a:p>
        </p:txBody>
      </p:sp>
    </p:spTree>
    <p:extLst>
      <p:ext uri="{BB962C8B-B14F-4D97-AF65-F5344CB8AC3E}">
        <p14:creationId xmlns:p14="http://schemas.microsoft.com/office/powerpoint/2010/main" val="2212910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(3-kolo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FCA3D2-B173-8B46-AFB8-55CDB547C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1485A9C4-AC67-1A49-BD6D-8BCB6126E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2CC8B5D-783C-F642-9CD8-B01CC1E750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C15EB2B-9840-B845-A1E8-38B2A6E37B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1909332"/>
            <a:ext cx="11028363" cy="3819525"/>
          </a:xfrm>
        </p:spPr>
        <p:txBody>
          <a:bodyPr numCol="3" spcCol="360000"/>
          <a:lstStyle>
            <a:lvl1pPr marL="0" indent="0">
              <a:buNone/>
              <a:defRPr sz="1400"/>
            </a:lvl1pPr>
          </a:lstStyle>
          <a:p>
            <a:pPr lvl="0"/>
            <a:r>
              <a:rPr lang="nl-NL"/>
              <a:t>[Tekst (3-kolomsindeling)]</a:t>
            </a:r>
          </a:p>
        </p:txBody>
      </p:sp>
    </p:spTree>
    <p:extLst>
      <p:ext uri="{BB962C8B-B14F-4D97-AF65-F5344CB8AC3E}">
        <p14:creationId xmlns:p14="http://schemas.microsoft.com/office/powerpoint/2010/main" val="65651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(4-kolo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FCA3D2-B173-8B46-AFB8-55CDB547C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1485A9C4-AC67-1A49-BD6D-8BCB6126E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2CC8B5D-783C-F642-9CD8-B01CC1E750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C15EB2B-9840-B845-A1E8-38B2A6E37B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1909332"/>
            <a:ext cx="11028363" cy="3819525"/>
          </a:xfrm>
        </p:spPr>
        <p:txBody>
          <a:bodyPr numCol="4" spcCol="360000"/>
          <a:lstStyle>
            <a:lvl1pPr marL="0" indent="0">
              <a:buNone/>
              <a:defRPr sz="1400"/>
            </a:lvl1pPr>
          </a:lstStyle>
          <a:p>
            <a:pPr lvl="0"/>
            <a:r>
              <a:rPr lang="nl-NL"/>
              <a:t>[Tekst (4-kolomsindeling)]</a:t>
            </a:r>
          </a:p>
        </p:txBody>
      </p:sp>
    </p:spTree>
    <p:extLst>
      <p:ext uri="{BB962C8B-B14F-4D97-AF65-F5344CB8AC3E}">
        <p14:creationId xmlns:p14="http://schemas.microsoft.com/office/powerpoint/2010/main" val="880582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 k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E15A2091-14C2-EF4A-ABE4-72235AE86FD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66546" y="1909332"/>
            <a:ext cx="5359300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365B64-C137-A442-A2B6-2D3F43DFC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A0517D36-3DD0-0C4B-BBD2-AA3EAD1EC71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7701" y="1909332"/>
            <a:ext cx="5359300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114792B8-52C3-9F4E-8B80-F56BFF6ED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AA7C20D-8492-2E44-A0B9-0D47DB4E95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323751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3 k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E15A2091-14C2-EF4A-ABE4-72235AE86FD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48283" y="1909332"/>
            <a:ext cx="3238499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A0517D36-3DD0-0C4B-BBD2-AA3EAD1EC71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7701" y="1909332"/>
            <a:ext cx="3238499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EC2466B0-8E90-A34E-B065-FBBCD1933EE1}"/>
              </a:ext>
            </a:extLst>
          </p:cNvPr>
          <p:cNvSpPr>
            <a:spLocks noGrp="1"/>
          </p:cNvSpPr>
          <p:nvPr>
            <p:ph sz="quarter" idx="1007" hasCustomPrompt="1"/>
          </p:nvPr>
        </p:nvSpPr>
        <p:spPr>
          <a:xfrm>
            <a:off x="4447992" y="1909332"/>
            <a:ext cx="3238499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365B64-C137-A442-A2B6-2D3F43DFC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114792B8-52C3-9F4E-8B80-F56BFF6ED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AA7C20D-8492-2E44-A0B9-0D47DB4E95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4019287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sdia_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89822B3-EE03-2E43-ACEB-03B1A554BE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423647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[</a:t>
            </a:r>
            <a:r>
              <a:rPr lang="en-US" err="1"/>
              <a:t>Klik</a:t>
            </a:r>
            <a:r>
              <a:rPr lang="en-US"/>
              <a:t> op het pictogram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in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voegen</a:t>
            </a:r>
            <a:r>
              <a:rPr lang="en-US"/>
              <a:t>.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8CAF0A-2D2C-0D48-B59E-38E059F0C01A}"/>
              </a:ext>
            </a:extLst>
          </p:cNvPr>
          <p:cNvSpPr/>
          <p:nvPr userDrawn="1"/>
        </p:nvSpPr>
        <p:spPr>
          <a:xfrm>
            <a:off x="-1" y="4221480"/>
            <a:ext cx="12192001" cy="26365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4 niveaus: (Titel, titel vet, subtitel en datum (JU-Free)">
            <a:extLst>
              <a:ext uri="{FF2B5EF4-FFF2-40B4-BE49-F238E27FC236}">
                <a16:creationId xmlns:a16="http://schemas.microsoft.com/office/drawing/2014/main" id="{1D2AA6A5-5605-4C44-8074-D1C412AAE2AD}"/>
              </a:ext>
            </a:extLst>
          </p:cNvPr>
          <p:cNvSpPr>
            <a:spLocks noGrp="1"/>
          </p:cNvSpPr>
          <p:nvPr>
            <p:ph type="body" sz="quarter" idx="1007" hasCustomPrompt="1"/>
          </p:nvPr>
        </p:nvSpPr>
        <p:spPr bwMode="gray">
          <a:xfrm>
            <a:off x="821690" y="4596289"/>
            <a:ext cx="10714990" cy="1354217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GB" sz="4400" b="0" i="0" cap="all" baseline="0" smtClean="0">
                <a:effectLst/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4400" b="1" cap="all" baseline="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sz="2400" b="0">
                <a:solidFill>
                  <a:schemeClr val="accent5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>
              <a:lnSpc>
                <a:spcPct val="100000"/>
              </a:lnSpc>
              <a:defRPr sz="1300"/>
            </a:lvl5pPr>
            <a:lvl6pPr marL="0">
              <a:lnSpc>
                <a:spcPct val="100000"/>
              </a:lnSpc>
              <a:defRPr sz="1300"/>
            </a:lvl6pPr>
            <a:lvl7pPr marL="0">
              <a:lnSpc>
                <a:spcPct val="100000"/>
              </a:lnSpc>
              <a:defRPr sz="1300"/>
            </a:lvl7pPr>
            <a:lvl8pPr marL="0">
              <a:lnSpc>
                <a:spcPct val="100000"/>
              </a:lnSpc>
              <a:defRPr sz="1300"/>
            </a:lvl8pPr>
            <a:lvl9pPr marL="0">
              <a:lnSpc>
                <a:spcPct val="100000"/>
              </a:lnSpc>
              <a:defRPr sz="1300"/>
            </a:lvl9pPr>
          </a:lstStyle>
          <a:p>
            <a:r>
              <a:rPr lang="en-GB">
                <a:effectLst/>
                <a:latin typeface="Roboto Condensed Light" panose="02000000000000000000" pitchFamily="2" charset="0"/>
              </a:rPr>
              <a:t>EEN LANGE TITEL DIE MAXIMAAL OVER </a:t>
            </a:r>
          </a:p>
          <a:p>
            <a:r>
              <a:rPr lang="en-GB" b="1">
                <a:effectLst/>
                <a:latin typeface="Roboto Condensed" panose="02000000000000000000" pitchFamily="2" charset="0"/>
              </a:rPr>
              <a:t>TWEE REGELS LOOPT</a:t>
            </a:r>
            <a:endParaRPr lang="en-GB">
              <a:effectLst/>
              <a:latin typeface="Roboto Condensed Light" panose="02000000000000000000" pitchFamily="2" charset="0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BD7E4F2-0617-1047-B8E3-AA7EAD43F76C}"/>
              </a:ext>
            </a:extLst>
          </p:cNvPr>
          <p:cNvSpPr>
            <a:spLocks noGrp="1"/>
          </p:cNvSpPr>
          <p:nvPr>
            <p:ph type="body" sz="quarter" idx="1008" hasCustomPrompt="1"/>
          </p:nvPr>
        </p:nvSpPr>
        <p:spPr>
          <a:xfrm>
            <a:off x="821690" y="6027153"/>
            <a:ext cx="3406775" cy="38792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Ondertitel</a:t>
            </a:r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47D54E0-66AA-424C-AC5B-C9080E2192A0}"/>
              </a:ext>
            </a:extLst>
          </p:cNvPr>
          <p:cNvSpPr>
            <a:spLocks noGrp="1"/>
          </p:cNvSpPr>
          <p:nvPr>
            <p:ph type="body" sz="quarter" idx="1009" hasCustomPrompt="1"/>
          </p:nvPr>
        </p:nvSpPr>
        <p:spPr>
          <a:xfrm>
            <a:off x="8129905" y="6137911"/>
            <a:ext cx="3406775" cy="279400"/>
          </a:xfrm>
        </p:spPr>
        <p:txBody>
          <a:bodyPr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GB"/>
              <a:t>Extr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383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4 k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E15A2091-14C2-EF4A-ABE4-72235AE86FD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2409" y="1909332"/>
            <a:ext cx="2482671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A0517D36-3DD0-0C4B-BBD2-AA3EAD1EC71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7701" y="1909332"/>
            <a:ext cx="2495971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EC2466B0-8E90-A34E-B065-FBBCD1933EE1}"/>
              </a:ext>
            </a:extLst>
          </p:cNvPr>
          <p:cNvSpPr>
            <a:spLocks noGrp="1"/>
          </p:cNvSpPr>
          <p:nvPr>
            <p:ph sz="quarter" idx="1007" hasCustomPrompt="1"/>
          </p:nvPr>
        </p:nvSpPr>
        <p:spPr>
          <a:xfrm>
            <a:off x="3431705" y="1909332"/>
            <a:ext cx="2482671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365B64-C137-A442-A2B6-2D3F43DFC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114792B8-52C3-9F4E-8B80-F56BFF6ED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AA7C20D-8492-2E44-A0B9-0D47DB4E95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677F75FE-DED2-1941-BC42-927CD50DA9A1}"/>
              </a:ext>
            </a:extLst>
          </p:cNvPr>
          <p:cNvSpPr>
            <a:spLocks noGrp="1"/>
          </p:cNvSpPr>
          <p:nvPr>
            <p:ph sz="quarter" idx="1008" hasCustomPrompt="1"/>
          </p:nvPr>
        </p:nvSpPr>
        <p:spPr>
          <a:xfrm>
            <a:off x="8973112" y="1909332"/>
            <a:ext cx="2482671" cy="3792538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tekst</a:t>
            </a:r>
            <a:r>
              <a:rPr lang="en-GB"/>
              <a:t> of </a:t>
            </a:r>
            <a:r>
              <a:rPr lang="en-GB" err="1"/>
              <a:t>klik</a:t>
            </a:r>
            <a:r>
              <a:rPr lang="en-GB"/>
              <a:t> op </a:t>
            </a:r>
            <a:r>
              <a:rPr lang="en-GB" err="1"/>
              <a:t>een</a:t>
            </a:r>
            <a:r>
              <a:rPr lang="en-GB"/>
              <a:t> pictogram om </a:t>
            </a:r>
            <a:r>
              <a:rPr lang="en-GB" err="1"/>
              <a:t>een</a:t>
            </a:r>
            <a:r>
              <a:rPr lang="en-GB"/>
              <a:t> object in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oegen</a:t>
            </a:r>
            <a:r>
              <a:rPr lang="en-GB"/>
              <a:t>]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4185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rechts)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B3D4674-DFE9-7E47-B683-74C395ED17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6086C1A-645E-C94B-8F4B-0CAF8FB1B8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568858"/>
            <a:ext cx="5159968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27FECC-6F22-D644-9BBD-26A0D61BA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ABA79496-005A-2B40-A7FB-81D80E7DB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592225"/>
            <a:ext cx="5159968" cy="976633"/>
          </a:xfrm>
        </p:spPr>
        <p:txBody>
          <a:bodyPr/>
          <a:lstStyle/>
          <a:p>
            <a:r>
              <a:rPr lang="nl-NL" sz="3600"/>
              <a:t>Tekst pagina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rechts (50%)</a:t>
            </a:r>
            <a:endParaRPr lang="nl-NL" sz="3600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D770A0AC-705F-2842-9598-F0BD283A57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061223"/>
            <a:ext cx="5159968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</p:spTree>
    <p:extLst>
      <p:ext uri="{BB962C8B-B14F-4D97-AF65-F5344CB8AC3E}">
        <p14:creationId xmlns:p14="http://schemas.microsoft.com/office/powerpoint/2010/main" val="2082962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6086C1A-645E-C94B-8F4B-0CAF8FB1B8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568858"/>
            <a:ext cx="58680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27FECC-6F22-D644-9BBD-26A0D61BA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ABA79496-005A-2B40-A7FB-81D80E7DB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5868000" cy="976633"/>
          </a:xfrm>
        </p:spPr>
        <p:txBody>
          <a:bodyPr/>
          <a:lstStyle/>
          <a:p>
            <a:r>
              <a:rPr lang="nl-NL" sz="3600"/>
              <a:t>Tekst pagina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rechts</a:t>
            </a:r>
            <a:endParaRPr lang="nl-NL" sz="3600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D770A0AC-705F-2842-9598-F0BD283A57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061223"/>
            <a:ext cx="5867700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B16E6472-28B5-EC44-80F4-DE4A00291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49598" y="0"/>
            <a:ext cx="5342401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</p:spTree>
    <p:extLst>
      <p:ext uri="{BB962C8B-B14F-4D97-AF65-F5344CB8AC3E}">
        <p14:creationId xmlns:p14="http://schemas.microsoft.com/office/powerpoint/2010/main" val="600668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rechts) 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5D0933-6ECB-9241-A167-C0FEB000C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589E429-ABE3-1348-AE9F-8880AC8F43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042362"/>
            <a:ext cx="8112296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BA078780-1BCC-0D41-89B2-135D53E81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112296" cy="511175"/>
          </a:xfrm>
        </p:spPr>
        <p:txBody>
          <a:bodyPr/>
          <a:lstStyle/>
          <a:p>
            <a:r>
              <a:rPr lang="nl-NL" sz="3600"/>
              <a:t>Tekst pagina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rechts (25%)</a:t>
            </a:r>
            <a:endParaRPr lang="nl-NL" sz="3600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81BE17C0-074A-1141-B26A-24E7C87E1B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883124"/>
            <a:ext cx="8112296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2A959DF-0FC3-174D-94C3-F04A0C69D6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46052" y="0"/>
            <a:ext cx="3145947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</p:spTree>
    <p:extLst>
      <p:ext uri="{BB962C8B-B14F-4D97-AF65-F5344CB8AC3E}">
        <p14:creationId xmlns:p14="http://schemas.microsoft.com/office/powerpoint/2010/main" val="279856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links)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3B6344-AB10-EA4F-8BAD-179833B42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F59E70AF-F4A9-9F49-8F7F-120AB3A534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4514" y="-11932"/>
            <a:ext cx="6096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D0758C7-AAEB-2048-9412-97B839D1D3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9756" y="1568858"/>
            <a:ext cx="5159968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A55149E7-257F-2C49-8602-07807C90A8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2061223"/>
            <a:ext cx="5159968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  <p:sp>
        <p:nvSpPr>
          <p:cNvPr id="16" name="Titel 3">
            <a:extLst>
              <a:ext uri="{FF2B5EF4-FFF2-40B4-BE49-F238E27FC236}">
                <a16:creationId xmlns:a16="http://schemas.microsoft.com/office/drawing/2014/main" id="{0E79DC47-0CCF-4048-8E25-C120522A27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9756" y="592225"/>
            <a:ext cx="5159968" cy="976633"/>
          </a:xfrm>
        </p:spPr>
        <p:txBody>
          <a:bodyPr/>
          <a:lstStyle/>
          <a:p>
            <a:r>
              <a:rPr lang="nl-NL" sz="3600"/>
              <a:t>Tekst pagina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links (50%)</a:t>
            </a:r>
            <a:endParaRPr lang="nl-NL" sz="3600"/>
          </a:p>
        </p:txBody>
      </p:sp>
    </p:spTree>
    <p:extLst>
      <p:ext uri="{BB962C8B-B14F-4D97-AF65-F5344CB8AC3E}">
        <p14:creationId xmlns:p14="http://schemas.microsoft.com/office/powerpoint/2010/main" val="3270413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84D8A2-D566-454D-BB23-5A1883A4B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C8F0050-FC3B-6C49-A23E-5093D47308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5342401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9429D67-18A8-944A-BA05-3E0DF21AAF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64511" y="1568858"/>
            <a:ext cx="5795213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4" name="Tijdelijke aanduiding voor tekst 2">
            <a:extLst>
              <a:ext uri="{FF2B5EF4-FFF2-40B4-BE49-F238E27FC236}">
                <a16:creationId xmlns:a16="http://schemas.microsoft.com/office/drawing/2014/main" id="{432DCCB2-7778-BF4B-8B27-C1DC665021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64811" y="2061223"/>
            <a:ext cx="5794913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  <p:sp>
        <p:nvSpPr>
          <p:cNvPr id="18" name="Titel 3">
            <a:extLst>
              <a:ext uri="{FF2B5EF4-FFF2-40B4-BE49-F238E27FC236}">
                <a16:creationId xmlns:a16="http://schemas.microsoft.com/office/drawing/2014/main" id="{F9F7FF18-B5EF-0C40-AB3E-01BDEFFA2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4511" y="592225"/>
            <a:ext cx="5795213" cy="976633"/>
          </a:xfrm>
        </p:spPr>
        <p:txBody>
          <a:bodyPr/>
          <a:lstStyle/>
          <a:p>
            <a:r>
              <a:rPr lang="nl-NL" sz="3600"/>
              <a:t>Tekst pagina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links</a:t>
            </a:r>
            <a:endParaRPr lang="nl-NL" sz="3600"/>
          </a:p>
        </p:txBody>
      </p:sp>
    </p:spTree>
    <p:extLst>
      <p:ext uri="{BB962C8B-B14F-4D97-AF65-F5344CB8AC3E}">
        <p14:creationId xmlns:p14="http://schemas.microsoft.com/office/powerpoint/2010/main" val="2553994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links) 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9C9235-069E-5E47-BDC8-7E1992CCA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1B52D292-0889-934E-95F6-1DB85CDA53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145947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22AE3DF-2702-0F4B-B0F0-41CA489610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19602" y="1042362"/>
            <a:ext cx="8139821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4" name="Titel 3">
            <a:extLst>
              <a:ext uri="{FF2B5EF4-FFF2-40B4-BE49-F238E27FC236}">
                <a16:creationId xmlns:a16="http://schemas.microsoft.com/office/drawing/2014/main" id="{4EF081F9-321F-F545-A76F-19DD038FA0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903" y="592225"/>
            <a:ext cx="8139520" cy="511175"/>
          </a:xfrm>
        </p:spPr>
        <p:txBody>
          <a:bodyPr/>
          <a:lstStyle/>
          <a:p>
            <a:r>
              <a:rPr lang="nl-NL" sz="3600"/>
              <a:t>Tekst pagina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rechts (25%)</a:t>
            </a:r>
            <a:endParaRPr lang="nl-NL" sz="3600"/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id="{7BED8CBB-8E42-014C-B561-CA46D0965F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902" y="1883124"/>
            <a:ext cx="8139821" cy="3932514"/>
          </a:xfrm>
        </p:spPr>
        <p:txBody>
          <a:bodyPr/>
          <a:lstStyle>
            <a:lvl1pPr marL="342000" indent="-342000">
              <a:defRPr/>
            </a:lvl1pPr>
          </a:lstStyle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</p:spTree>
    <p:extLst>
      <p:ext uri="{BB962C8B-B14F-4D97-AF65-F5344CB8AC3E}">
        <p14:creationId xmlns:p14="http://schemas.microsoft.com/office/powerpoint/2010/main" val="837850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iconen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6">
            <a:extLst>
              <a:ext uri="{FF2B5EF4-FFF2-40B4-BE49-F238E27FC236}">
                <a16:creationId xmlns:a16="http://schemas.microsoft.com/office/drawing/2014/main" id="{9C194B32-A882-3F49-B252-A6533D6C67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701" r="675" b="1701"/>
          <a:stretch/>
        </p:blipFill>
        <p:spPr>
          <a:xfrm>
            <a:off x="5225143" y="0"/>
            <a:ext cx="6966857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4E5951-B586-4940-822F-D14F95F65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AA57DF8D-B48F-DA4F-8677-7898837BC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01407" y="969531"/>
            <a:ext cx="3556237" cy="977401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D03F0241-CBBA-F749-9A48-652DB238BBC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0928" y="687343"/>
            <a:ext cx="1105191" cy="1105191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662E4B4B-8AC5-9A4F-865D-1A32D7BC5F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98880" y="2451599"/>
            <a:ext cx="3556237" cy="977401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29" name="Picture Placeholder 22">
            <a:extLst>
              <a:ext uri="{FF2B5EF4-FFF2-40B4-BE49-F238E27FC236}">
                <a16:creationId xmlns:a16="http://schemas.microsoft.com/office/drawing/2014/main" id="{D6D7C9AA-A528-094F-8146-86DAD6D86C6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68401" y="2169411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3B36DE71-60C4-BC40-BBE6-5517CDB3CA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98880" y="3909830"/>
            <a:ext cx="3556237" cy="977401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33" name="Picture Placeholder 22">
            <a:extLst>
              <a:ext uri="{FF2B5EF4-FFF2-40B4-BE49-F238E27FC236}">
                <a16:creationId xmlns:a16="http://schemas.microsoft.com/office/drawing/2014/main" id="{C14C1158-5CEF-5648-9208-07EA28C9E1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68401" y="3627642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B67B2F40-95AF-C541-9C27-225D37D1C6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98880" y="5368061"/>
            <a:ext cx="3556237" cy="977401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37" name="Picture Placeholder 22">
            <a:extLst>
              <a:ext uri="{FF2B5EF4-FFF2-40B4-BE49-F238E27FC236}">
                <a16:creationId xmlns:a16="http://schemas.microsoft.com/office/drawing/2014/main" id="{9429FA86-8E67-054F-AC76-DEEF22AB94F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68401" y="5085873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CA7EC0DA-2125-554D-A37C-6A31FBA2AE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700" y="1568858"/>
            <a:ext cx="4313883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9" name="Titel 3">
            <a:extLst>
              <a:ext uri="{FF2B5EF4-FFF2-40B4-BE49-F238E27FC236}">
                <a16:creationId xmlns:a16="http://schemas.microsoft.com/office/drawing/2014/main" id="{E0C3F110-EDA1-3E4D-A157-9B00DEB26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4313883" cy="976633"/>
          </a:xfrm>
        </p:spPr>
        <p:txBody>
          <a:bodyPr/>
          <a:lstStyle/>
          <a:p>
            <a:r>
              <a:rPr lang="nl-NL" sz="3600"/>
              <a:t>Tekst pagina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iconen rechts</a:t>
            </a:r>
            <a:endParaRPr lang="nl-NL" sz="3600"/>
          </a:p>
        </p:txBody>
      </p:sp>
      <p:sp>
        <p:nvSpPr>
          <p:cNvPr id="40" name="Tijdelijke aanduiding voor tekst 2">
            <a:extLst>
              <a:ext uri="{FF2B5EF4-FFF2-40B4-BE49-F238E27FC236}">
                <a16:creationId xmlns:a16="http://schemas.microsoft.com/office/drawing/2014/main" id="{498E05D6-75BD-FD42-8DF3-757C5E266A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061223"/>
            <a:ext cx="4313583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</p:spTree>
    <p:extLst>
      <p:ext uri="{BB962C8B-B14F-4D97-AF65-F5344CB8AC3E}">
        <p14:creationId xmlns:p14="http://schemas.microsoft.com/office/powerpoint/2010/main" val="249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4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ED6C86-2070-184B-B9C5-219F4A674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6" name="Titel 4">
            <a:extLst>
              <a:ext uri="{FF2B5EF4-FFF2-40B4-BE49-F238E27FC236}">
                <a16:creationId xmlns:a16="http://schemas.microsoft.com/office/drawing/2014/main" id="{79A471C1-7CB1-B444-82EA-4AE7194F47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nl-NL" sz="360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ekst pagina met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vier iconen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AC1223F-4C9E-DB49-836D-1BC3C000F6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11027626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9C9711FF-425E-014F-BE31-D89979A0AA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2460" y="1982666"/>
            <a:ext cx="1105191" cy="1105191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CD61680F-D501-124B-A069-D0B696D1784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2460" y="3988185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21" name="Picture Placeholder 22">
            <a:extLst>
              <a:ext uri="{FF2B5EF4-FFF2-40B4-BE49-F238E27FC236}">
                <a16:creationId xmlns:a16="http://schemas.microsoft.com/office/drawing/2014/main" id="{78991FFB-B1AC-BF41-8944-99125DAF4F0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829124" y="1982665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0E92081E-95FF-5B4D-89FE-9720802B079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829124" y="3988184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34BEE67B-353E-EE4A-9A47-07ABF81FA9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51584" y="1983929"/>
            <a:ext cx="3556237" cy="1103927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1648339-F0EE-584E-A29B-32AB669474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51584" y="3989448"/>
            <a:ext cx="3556237" cy="1103927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8E6E0517-C22D-484C-AC39-DA8F9EED95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33284" y="1983929"/>
            <a:ext cx="3556237" cy="1103927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47F8043F-44C7-F14A-B3CB-E9F5590A75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3284" y="3989448"/>
            <a:ext cx="3556237" cy="1103927"/>
          </a:xfrm>
        </p:spPr>
        <p:txBody>
          <a:bodyPr/>
          <a:lstStyle>
            <a:lvl1pPr marL="0" indent="0">
              <a:buNone/>
              <a:defRPr sz="1400" b="1" i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icoo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13601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koloms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EEC2CB-8DE7-1E46-93E1-2F2D6F55B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4" name="Titel 4">
            <a:extLst>
              <a:ext uri="{FF2B5EF4-FFF2-40B4-BE49-F238E27FC236}">
                <a16:creationId xmlns:a16="http://schemas.microsoft.com/office/drawing/2014/main" id="{EE6C07B0-DE24-7B4B-BCEF-C0A1FD45B5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nl-NL" sz="360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ekst 2 </a:t>
            </a:r>
            <a:r>
              <a:rPr lang="nl-NL" sz="3600" err="1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koloms</a:t>
            </a:r>
            <a:r>
              <a:rPr lang="nl-NL" sz="360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en iconen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D9FE881-007B-F641-A6F7-FD52A32D92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11027626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482DCF2-41E6-3B46-9B27-0FBB2DCF99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440" y="1875118"/>
            <a:ext cx="3314700" cy="611979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Kop</a:t>
            </a:r>
            <a:endParaRPr lang="nl-NL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7B7F6813-F0C6-614A-AE38-0C2245B26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6546" y="1875119"/>
            <a:ext cx="3314700" cy="611978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Kop</a:t>
            </a:r>
            <a:endParaRPr lang="nl-NL"/>
          </a:p>
        </p:txBody>
      </p:sp>
      <p:sp>
        <p:nvSpPr>
          <p:cNvPr id="21" name="Picture Placeholder 22">
            <a:extLst>
              <a:ext uri="{FF2B5EF4-FFF2-40B4-BE49-F238E27FC236}">
                <a16:creationId xmlns:a16="http://schemas.microsoft.com/office/drawing/2014/main" id="{FA20A92E-4EC1-F14F-A632-912663BDD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80824" y="1686647"/>
            <a:ext cx="1105191" cy="1105191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6E1BF540-4FCF-2648-9EEA-5517B6D37D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822859" y="1686646"/>
            <a:ext cx="1105191" cy="1105191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 sz="1000"/>
            </a:lvl1pPr>
          </a:lstStyle>
          <a:p>
            <a:pPr marL="0" marR="0" lvl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pPr>
            <a:r>
              <a:rPr lang="nl-NL"/>
              <a:t>[Klik op het pictogram om een afbeelding in te voegen]</a:t>
            </a:r>
          </a:p>
          <a:p>
            <a:endParaRPr lang="nl-NL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CFEC4B0-E459-A84B-955D-1DB2748978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000" y="2998273"/>
            <a:ext cx="5346000" cy="281822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[Type je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hier</a:t>
            </a:r>
            <a:r>
              <a:rPr lang="en-GB"/>
              <a:t>]</a:t>
            </a:r>
            <a:endParaRPr lang="nl-NL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F893300C-9CC4-D34E-B85A-462B2D06AB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66624" y="2998273"/>
            <a:ext cx="5346000" cy="281822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[Type je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hier</a:t>
            </a:r>
            <a:r>
              <a:rPr lang="en-GB"/>
              <a:t>]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2667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3">
            <a:extLst>
              <a:ext uri="{FF2B5EF4-FFF2-40B4-BE49-F238E27FC236}">
                <a16:creationId xmlns:a16="http://schemas.microsoft.com/office/drawing/2014/main" id="{7148D647-53F7-A345-83C1-77BD1FC1E2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9074" t="1916" r="4800" b="1394"/>
          <a:stretch/>
        </p:blipFill>
        <p:spPr>
          <a:xfrm>
            <a:off x="5114924" y="0"/>
            <a:ext cx="70770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3CABD1-199F-E348-A55B-05554E8B4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4115852" cy="1143000"/>
          </a:xfrm>
        </p:spPr>
        <p:txBody>
          <a:bodyPr/>
          <a:lstStyle>
            <a:lvl1pPr>
              <a:defRPr sz="3600"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en-GB"/>
              <a:t>[</a:t>
            </a:r>
            <a:r>
              <a:rPr lang="en-GB" err="1"/>
              <a:t>Inhoud</a:t>
            </a:r>
            <a:r>
              <a:rPr lang="en-GB"/>
              <a:t>]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AE0F96-C950-C141-82CD-A0C008127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E88FA720-C712-7C44-A27E-53DFDED26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11969"/>
            <a:ext cx="4115852" cy="4296124"/>
          </a:xfrm>
        </p:spPr>
        <p:txBody>
          <a:bodyPr/>
          <a:lstStyle>
            <a:lvl1pPr marL="342000" indent="-342000">
              <a:buFont typeface="Courier New" panose="02070309020205020404" pitchFamily="49" charset="0"/>
              <a:buChar char="o"/>
              <a:defRPr sz="2100"/>
            </a:lvl1pPr>
          </a:lstStyle>
          <a:p>
            <a:pPr>
              <a:buClr>
                <a:schemeClr val="accent5"/>
              </a:buClr>
            </a:pPr>
            <a:r>
              <a:rPr lang="nl-NL"/>
              <a:t>Punt 1</a:t>
            </a:r>
          </a:p>
          <a:p>
            <a:pPr>
              <a:buClr>
                <a:schemeClr val="accent5"/>
              </a:buClr>
            </a:pPr>
            <a:r>
              <a:rPr lang="nl-NL"/>
              <a:t>Punt 2</a:t>
            </a:r>
          </a:p>
          <a:p>
            <a:pPr>
              <a:buClr>
                <a:schemeClr val="accent5"/>
              </a:buClr>
            </a:pPr>
            <a:r>
              <a:rPr lang="nl-NL"/>
              <a:t>Punt 3</a:t>
            </a:r>
          </a:p>
          <a:p>
            <a:pPr>
              <a:buClr>
                <a:schemeClr val="accent5"/>
              </a:buClr>
            </a:pPr>
            <a:r>
              <a:rPr lang="nl-NL"/>
              <a:t>Punt 4</a:t>
            </a:r>
          </a:p>
          <a:p>
            <a:pPr>
              <a:buClr>
                <a:schemeClr val="accent5"/>
              </a:buClr>
            </a:pPr>
            <a:r>
              <a:rPr lang="nl-NL"/>
              <a:t>Punt 5</a:t>
            </a:r>
          </a:p>
          <a:p>
            <a:pPr>
              <a:buClr>
                <a:schemeClr val="accent5"/>
              </a:buClr>
            </a:pPr>
            <a:r>
              <a:rPr lang="nl-NL"/>
              <a:t>Punt 6</a:t>
            </a:r>
          </a:p>
          <a:p>
            <a:pPr>
              <a:buClr>
                <a:schemeClr val="accent5"/>
              </a:buClr>
            </a:pPr>
            <a:r>
              <a:rPr lang="nl-NL"/>
              <a:t>Punt 7</a:t>
            </a:r>
          </a:p>
          <a:p>
            <a:pPr>
              <a:buClr>
                <a:schemeClr val="accent5"/>
              </a:buClr>
            </a:pPr>
            <a:endParaRPr lang="nl-NL"/>
          </a:p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15279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 koloms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4">
            <a:extLst>
              <a:ext uri="{FF2B5EF4-FFF2-40B4-BE49-F238E27FC236}">
                <a16:creationId xmlns:a16="http://schemas.microsoft.com/office/drawing/2014/main" id="{464E64E9-7693-594B-BCC3-F41DE1445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0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nl-NL" sz="360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ekst 3 </a:t>
            </a:r>
            <a:r>
              <a:rPr lang="nl-NL" sz="3600" err="1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koloms</a:t>
            </a:r>
            <a:r>
              <a:rPr lang="nl-NL" sz="360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en ico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F8BE4-E695-9E4B-9BFB-8AAC8E62F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C9BD8C0B-2120-4640-AD8C-C99E36260E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11027626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0395D924-953E-DD43-BAA1-54578B6B8F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440" y="1875118"/>
            <a:ext cx="2159260" cy="611979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Kop</a:t>
            </a:r>
            <a:endParaRPr lang="nl-NL"/>
          </a:p>
        </p:txBody>
      </p:sp>
      <p:sp>
        <p:nvSpPr>
          <p:cNvPr id="13" name="Picture Placeholder 22">
            <a:extLst>
              <a:ext uri="{FF2B5EF4-FFF2-40B4-BE49-F238E27FC236}">
                <a16:creationId xmlns:a16="http://schemas.microsoft.com/office/drawing/2014/main" id="{5959215C-EC2A-6A4A-87C1-204B18CC00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87623" y="1686647"/>
            <a:ext cx="1105191" cy="1105191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4C3D4ACD-3FE5-4747-9A01-70109BB4E4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000" y="2998273"/>
            <a:ext cx="3314699" cy="281822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[Type je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hier</a:t>
            </a:r>
            <a:r>
              <a:rPr lang="en-GB"/>
              <a:t>]</a:t>
            </a:r>
            <a:endParaRPr lang="nl-NL"/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6D50C2CC-7AAC-0E45-BB7F-EFE6C07FCC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751" y="2998272"/>
            <a:ext cx="3314699" cy="281822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[Type je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hier</a:t>
            </a:r>
            <a:r>
              <a:rPr lang="en-GB"/>
              <a:t>]</a:t>
            </a:r>
            <a:endParaRPr lang="nl-NL"/>
          </a:p>
        </p:txBody>
      </p:sp>
      <p:sp>
        <p:nvSpPr>
          <p:cNvPr id="16" name="Text Placeholder 24">
            <a:extLst>
              <a:ext uri="{FF2B5EF4-FFF2-40B4-BE49-F238E27FC236}">
                <a16:creationId xmlns:a16="http://schemas.microsoft.com/office/drawing/2014/main" id="{189ACA12-1746-CC44-AD68-94CE3CE891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86667" y="2998272"/>
            <a:ext cx="3314699" cy="281822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[Type je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hier</a:t>
            </a:r>
            <a:r>
              <a:rPr lang="en-GB"/>
              <a:t>]</a:t>
            </a:r>
            <a:endParaRPr lang="nl-NL"/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A001B3AA-F767-614C-B456-02EFBBF3D1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1751" y="1875118"/>
            <a:ext cx="2159260" cy="611979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Kop</a:t>
            </a:r>
            <a:endParaRPr lang="nl-NL"/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65834302-3DEA-1243-A500-AC55A036A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811934" y="1686647"/>
            <a:ext cx="1105191" cy="1105191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7BC9EDBA-BC3F-4940-BC4C-C8B840CF49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86667" y="1875118"/>
            <a:ext cx="2159260" cy="611979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Kop</a:t>
            </a:r>
            <a:endParaRPr lang="nl-NL"/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C697A8D3-C4A1-5648-B7B5-5B98A19BB33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726850" y="1686647"/>
            <a:ext cx="1105191" cy="1105191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</p:spTree>
    <p:extLst>
      <p:ext uri="{BB962C8B-B14F-4D97-AF65-F5344CB8AC3E}">
        <p14:creationId xmlns:p14="http://schemas.microsoft.com/office/powerpoint/2010/main" val="3521322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pagina met éé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7C5C84-E4B4-9449-B1B3-2D94296A7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31B7F0E2-EBDB-5242-885F-CA97BA81AF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909332"/>
            <a:ext cx="7392216" cy="3744000"/>
          </a:xfrm>
        </p:spPr>
        <p:txBody>
          <a:bodyPr/>
          <a:lstStyle/>
          <a:p>
            <a:pPr marL="0" indent="0">
              <a:buNone/>
            </a:pPr>
            <a:r>
              <a:rPr lang="nl-NL"/>
              <a:t>[Type je tekst hier</a:t>
            </a:r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149A6D13-2869-124F-80BD-7346DC7A3C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60511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Tekst pagina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één object</a:t>
            </a:r>
            <a:endParaRPr lang="nl-NL" sz="360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7310844-1790-D94E-BAEE-98ACFB344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2" name="Picture Placeholder 22">
            <a:extLst>
              <a:ext uri="{FF2B5EF4-FFF2-40B4-BE49-F238E27FC236}">
                <a16:creationId xmlns:a16="http://schemas.microsoft.com/office/drawing/2014/main" id="{AC67C24D-12F0-B94F-90AB-26673506279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08894" y="2364262"/>
            <a:ext cx="2129476" cy="2129476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nl-NL"/>
              <a:t>[Klik op het pictogram om een afbeelding in te voegen]</a:t>
            </a:r>
          </a:p>
        </p:txBody>
      </p:sp>
    </p:spTree>
    <p:extLst>
      <p:ext uri="{BB962C8B-B14F-4D97-AF65-F5344CB8AC3E}">
        <p14:creationId xmlns:p14="http://schemas.microsoft.com/office/powerpoint/2010/main" val="377548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Afbeelding 6">
            <a:extLst>
              <a:ext uri="{FF2B5EF4-FFF2-40B4-BE49-F238E27FC236}">
                <a16:creationId xmlns:a16="http://schemas.microsoft.com/office/drawing/2014/main" id="{5A16BAB1-73B6-F249-90AB-4E9016EDFD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701" r="675" b="1701"/>
          <a:stretch/>
        </p:blipFill>
        <p:spPr>
          <a:xfrm>
            <a:off x="5225143" y="0"/>
            <a:ext cx="6966857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930350-6D73-FD4C-9FA9-E4B34634C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3" name="Tijdelijke aanduiding voor tekst 21">
            <a:extLst>
              <a:ext uri="{FF2B5EF4-FFF2-40B4-BE49-F238E27FC236}">
                <a16:creationId xmlns:a16="http://schemas.microsoft.com/office/drawing/2014/main" id="{922E11F0-D935-E043-917A-37B63A5BBE36}"/>
              </a:ext>
            </a:extLst>
          </p:cNvPr>
          <p:cNvSpPr>
            <a:spLocks noGrp="1"/>
          </p:cNvSpPr>
          <p:nvPr>
            <p:ph type="body" sz="quarter" idx="1006"/>
          </p:nvPr>
        </p:nvSpPr>
        <p:spPr>
          <a:xfrm>
            <a:off x="648000" y="2375065"/>
            <a:ext cx="4392000" cy="3619335"/>
          </a:xfrm>
        </p:spPr>
        <p:txBody>
          <a:bodyPr/>
          <a:lstStyle>
            <a:lvl1pPr marL="342000" indent="-342000">
              <a:defRPr sz="1400" b="0" i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indent="0">
              <a:buNone/>
            </a:pPr>
            <a:r>
              <a:rPr lang="nl-NL" err="1"/>
              <a:t>Lorem</a:t>
            </a:r>
            <a:r>
              <a:rPr lang="nl-NL"/>
              <a:t> </a:t>
            </a:r>
            <a:r>
              <a:rPr lang="nl-NL" err="1"/>
              <a:t>ipsum</a:t>
            </a:r>
            <a:r>
              <a:rPr lang="nl-NL"/>
              <a:t> </a:t>
            </a:r>
            <a:r>
              <a:rPr lang="nl-NL" err="1"/>
              <a:t>dolor</a:t>
            </a:r>
            <a:r>
              <a:rPr lang="nl-NL"/>
              <a:t> </a:t>
            </a:r>
            <a:r>
              <a:rPr lang="nl-NL" err="1"/>
              <a:t>sit</a:t>
            </a:r>
            <a:r>
              <a:rPr lang="nl-NL"/>
              <a:t> </a:t>
            </a:r>
            <a:r>
              <a:rPr lang="nl-NL" err="1"/>
              <a:t>amet</a:t>
            </a:r>
            <a:r>
              <a:rPr lang="nl-NL"/>
              <a:t>, </a:t>
            </a:r>
            <a:r>
              <a:rPr lang="nl-NL" err="1"/>
              <a:t>consectetuer</a:t>
            </a:r>
            <a:r>
              <a:rPr lang="nl-NL"/>
              <a:t> </a:t>
            </a:r>
            <a:r>
              <a:rPr lang="nl-NL" err="1"/>
              <a:t>adipiscing</a:t>
            </a:r>
            <a:r>
              <a:rPr lang="nl-NL"/>
              <a:t> </a:t>
            </a:r>
            <a:r>
              <a:rPr lang="nl-NL" err="1"/>
              <a:t>elit</a:t>
            </a:r>
            <a:r>
              <a:rPr lang="nl-NL"/>
              <a:t>. </a:t>
            </a:r>
            <a:r>
              <a:rPr lang="nl-NL" err="1"/>
              <a:t>Aenean</a:t>
            </a:r>
            <a:r>
              <a:rPr lang="nl-NL"/>
              <a:t> commodo </a:t>
            </a:r>
            <a:r>
              <a:rPr lang="nl-NL" err="1"/>
              <a:t>ligula</a:t>
            </a:r>
            <a:r>
              <a:rPr lang="nl-NL"/>
              <a:t> </a:t>
            </a:r>
            <a:r>
              <a:rPr lang="nl-NL" err="1"/>
              <a:t>eget</a:t>
            </a:r>
            <a:r>
              <a:rPr lang="nl-NL"/>
              <a:t> </a:t>
            </a:r>
            <a:r>
              <a:rPr lang="nl-NL" err="1"/>
              <a:t>dolor</a:t>
            </a:r>
            <a:r>
              <a:rPr lang="nl-NL"/>
              <a:t>. </a:t>
            </a:r>
            <a:r>
              <a:rPr lang="nl-NL" err="1"/>
              <a:t>Aenean</a:t>
            </a:r>
            <a:r>
              <a:rPr lang="nl-NL"/>
              <a:t> massa. Cum </a:t>
            </a:r>
            <a:r>
              <a:rPr lang="nl-NL" err="1"/>
              <a:t>sociis</a:t>
            </a:r>
            <a:r>
              <a:rPr lang="nl-NL"/>
              <a:t> </a:t>
            </a:r>
            <a:r>
              <a:rPr lang="nl-NL" err="1"/>
              <a:t>natoque</a:t>
            </a:r>
            <a:r>
              <a:rPr lang="nl-NL"/>
              <a:t> </a:t>
            </a:r>
            <a:r>
              <a:rPr lang="nl-NL" err="1"/>
              <a:t>penatibus</a:t>
            </a:r>
            <a:r>
              <a:rPr lang="nl-NL"/>
              <a:t> et </a:t>
            </a:r>
            <a:r>
              <a:rPr lang="nl-NL" err="1"/>
              <a:t>magnis</a:t>
            </a:r>
            <a:r>
              <a:rPr lang="nl-NL"/>
              <a:t> dis </a:t>
            </a:r>
            <a:r>
              <a:rPr lang="nl-NL" err="1"/>
              <a:t>parturient</a:t>
            </a:r>
            <a:r>
              <a:rPr lang="nl-NL"/>
              <a:t> </a:t>
            </a:r>
            <a:r>
              <a:rPr lang="nl-NL" err="1"/>
              <a:t>montes</a:t>
            </a:r>
            <a:r>
              <a:rPr lang="nl-NL"/>
              <a:t>, </a:t>
            </a:r>
            <a:r>
              <a:rPr lang="nl-NL" err="1"/>
              <a:t>nascetur</a:t>
            </a:r>
            <a:r>
              <a:rPr lang="nl-NL"/>
              <a:t> </a:t>
            </a:r>
            <a:r>
              <a:rPr lang="nl-NL" err="1"/>
              <a:t>ridiculus</a:t>
            </a:r>
            <a:r>
              <a:rPr lang="nl-NL"/>
              <a:t> mus. </a:t>
            </a:r>
            <a:r>
              <a:rPr lang="nl-NL" err="1"/>
              <a:t>Donec</a:t>
            </a:r>
            <a:r>
              <a:rPr lang="nl-NL"/>
              <a:t> </a:t>
            </a:r>
            <a:r>
              <a:rPr lang="nl-NL" err="1"/>
              <a:t>quam</a:t>
            </a:r>
            <a:r>
              <a:rPr lang="nl-NL"/>
              <a:t> </a:t>
            </a:r>
            <a:r>
              <a:rPr lang="nl-NL" err="1"/>
              <a:t>felis</a:t>
            </a:r>
            <a:r>
              <a:rPr lang="nl-NL"/>
              <a:t>, </a:t>
            </a:r>
            <a:r>
              <a:rPr lang="nl-NL" err="1"/>
              <a:t>ultricies</a:t>
            </a:r>
            <a:r>
              <a:rPr lang="nl-NL"/>
              <a:t> </a:t>
            </a:r>
            <a:r>
              <a:rPr lang="nl-NL" err="1"/>
              <a:t>nec</a:t>
            </a:r>
            <a:r>
              <a:rPr lang="nl-NL"/>
              <a:t>, </a:t>
            </a:r>
            <a:r>
              <a:rPr lang="nl-NL" err="1"/>
              <a:t>pellentesque</a:t>
            </a:r>
            <a:r>
              <a:rPr lang="nl-NL"/>
              <a:t> </a:t>
            </a:r>
            <a:r>
              <a:rPr lang="nl-NL" err="1"/>
              <a:t>eu</a:t>
            </a:r>
            <a:r>
              <a:rPr lang="nl-NL"/>
              <a:t>, </a:t>
            </a:r>
            <a:r>
              <a:rPr lang="nl-NL" err="1"/>
              <a:t>pretium</a:t>
            </a:r>
            <a:r>
              <a:rPr lang="nl-NL"/>
              <a:t> </a:t>
            </a:r>
            <a:r>
              <a:rPr lang="nl-NL" err="1"/>
              <a:t>quis</a:t>
            </a:r>
            <a:r>
              <a:rPr lang="nl-NL"/>
              <a:t>, </a:t>
            </a:r>
            <a:r>
              <a:rPr lang="nl-NL" err="1"/>
              <a:t>sem</a:t>
            </a:r>
            <a:r>
              <a:rPr lang="nl-NL"/>
              <a:t>. </a:t>
            </a:r>
            <a:r>
              <a:rPr lang="nl-NL" err="1"/>
              <a:t>Nulla</a:t>
            </a:r>
            <a:r>
              <a:rPr lang="nl-NL"/>
              <a:t> </a:t>
            </a:r>
            <a:r>
              <a:rPr lang="nl-NL" err="1"/>
              <a:t>consequat</a:t>
            </a:r>
            <a:r>
              <a:rPr lang="nl-NL"/>
              <a:t> massa </a:t>
            </a:r>
            <a:r>
              <a:rPr lang="nl-NL" err="1"/>
              <a:t>quis</a:t>
            </a:r>
            <a:r>
              <a:rPr lang="nl-NL"/>
              <a:t> </a:t>
            </a:r>
            <a:r>
              <a:rPr lang="nl-NL" err="1"/>
              <a:t>enim</a:t>
            </a:r>
            <a:r>
              <a:rPr lang="nl-NL"/>
              <a:t>. </a:t>
            </a:r>
            <a:r>
              <a:rPr lang="nl-NL" err="1"/>
              <a:t>Donec</a:t>
            </a:r>
            <a:r>
              <a:rPr lang="nl-NL"/>
              <a:t> pede </a:t>
            </a:r>
            <a:r>
              <a:rPr lang="nl-NL" err="1"/>
              <a:t>justo</a:t>
            </a:r>
            <a:r>
              <a:rPr lang="nl-NL"/>
              <a:t>, </a:t>
            </a:r>
            <a:r>
              <a:rPr lang="nl-NL" err="1"/>
              <a:t>fringilla</a:t>
            </a:r>
            <a:r>
              <a:rPr lang="nl-NL"/>
              <a:t> vel, </a:t>
            </a:r>
            <a:r>
              <a:rPr lang="nl-NL" err="1"/>
              <a:t>aliquet</a:t>
            </a:r>
            <a:r>
              <a:rPr lang="nl-NL"/>
              <a:t> </a:t>
            </a:r>
            <a:r>
              <a:rPr lang="nl-NL" err="1"/>
              <a:t>nec</a:t>
            </a:r>
            <a:r>
              <a:rPr lang="nl-NL"/>
              <a:t>, </a:t>
            </a:r>
            <a:r>
              <a:rPr lang="nl-NL" err="1"/>
              <a:t>vulputate</a:t>
            </a:r>
            <a:r>
              <a:rPr lang="nl-NL"/>
              <a:t> </a:t>
            </a:r>
            <a:r>
              <a:rPr lang="nl-NL" err="1"/>
              <a:t>eget</a:t>
            </a:r>
            <a:r>
              <a:rPr lang="nl-NL"/>
              <a:t>, </a:t>
            </a:r>
            <a:r>
              <a:rPr lang="nl-NL" err="1"/>
              <a:t>arcu</a:t>
            </a:r>
            <a:r>
              <a:rPr lang="nl-NL"/>
              <a:t>. In </a:t>
            </a:r>
            <a:r>
              <a:rPr lang="nl-NL" err="1"/>
              <a:t>enim</a:t>
            </a:r>
            <a:r>
              <a:rPr lang="nl-NL"/>
              <a:t> </a:t>
            </a:r>
            <a:r>
              <a:rPr lang="nl-NL" err="1"/>
              <a:t>justo</a:t>
            </a:r>
            <a:r>
              <a:rPr lang="nl-NL"/>
              <a:t>, </a:t>
            </a:r>
            <a:r>
              <a:rPr lang="nl-NL" err="1"/>
              <a:t>rhoncus</a:t>
            </a:r>
            <a:r>
              <a:rPr lang="nl-NL"/>
              <a:t> ut, </a:t>
            </a:r>
            <a:r>
              <a:rPr lang="nl-NL" err="1"/>
              <a:t>imperdiet</a:t>
            </a:r>
            <a:r>
              <a:rPr lang="nl-NL"/>
              <a:t> a, </a:t>
            </a:r>
            <a:r>
              <a:rPr lang="nl-NL" err="1"/>
              <a:t>venenatis</a:t>
            </a:r>
            <a:r>
              <a:rPr lang="nl-NL"/>
              <a:t> vitae, </a:t>
            </a:r>
            <a:r>
              <a:rPr lang="nl-NL" err="1"/>
              <a:t>justo</a:t>
            </a:r>
            <a:r>
              <a:rPr lang="nl-NL"/>
              <a:t>. </a:t>
            </a:r>
            <a:r>
              <a:rPr lang="nl-NL" err="1"/>
              <a:t>Nullam</a:t>
            </a:r>
            <a:r>
              <a:rPr lang="nl-NL"/>
              <a:t> dictum </a:t>
            </a:r>
            <a:r>
              <a:rPr lang="nl-NL" err="1"/>
              <a:t>felis</a:t>
            </a:r>
            <a:r>
              <a:rPr lang="nl-NL"/>
              <a:t> </a:t>
            </a:r>
            <a:r>
              <a:rPr lang="nl-NL" err="1"/>
              <a:t>eu</a:t>
            </a:r>
            <a:r>
              <a:rPr lang="nl-NL"/>
              <a:t> pede </a:t>
            </a:r>
            <a:r>
              <a:rPr lang="nl-NL" err="1"/>
              <a:t>mollis</a:t>
            </a:r>
            <a:r>
              <a:rPr lang="nl-NL"/>
              <a:t> </a:t>
            </a:r>
            <a:r>
              <a:rPr lang="nl-NL" err="1"/>
              <a:t>pretium</a:t>
            </a:r>
            <a:r>
              <a:rPr lang="nl-NL"/>
              <a:t>. Integer </a:t>
            </a:r>
            <a:r>
              <a:rPr lang="nl-NL" err="1"/>
              <a:t>tincidunt</a:t>
            </a:r>
            <a:r>
              <a:rPr lang="nl-NL"/>
              <a:t>. 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3B45226-0F62-CA4B-8B8D-B626AEF0A4CC}"/>
              </a:ext>
            </a:extLst>
          </p:cNvPr>
          <p:cNvSpPr>
            <a:spLocks noGrp="1"/>
          </p:cNvSpPr>
          <p:nvPr>
            <p:ph type="body" sz="quarter" idx="1007" hasCustomPrompt="1"/>
          </p:nvPr>
        </p:nvSpPr>
        <p:spPr>
          <a:xfrm>
            <a:off x="647700" y="1565294"/>
            <a:ext cx="43920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9" name="Chart Placeholder 17">
            <a:extLst>
              <a:ext uri="{FF2B5EF4-FFF2-40B4-BE49-F238E27FC236}">
                <a16:creationId xmlns:a16="http://schemas.microsoft.com/office/drawing/2014/main" id="{2255CE41-36FA-134B-88E5-2B659A8C3CC3}"/>
              </a:ext>
            </a:extLst>
          </p:cNvPr>
          <p:cNvSpPr>
            <a:spLocks noGrp="1"/>
          </p:cNvSpPr>
          <p:nvPr>
            <p:ph type="chart" sz="quarter" idx="1008" hasCustomPrompt="1"/>
          </p:nvPr>
        </p:nvSpPr>
        <p:spPr>
          <a:xfrm>
            <a:off x="6273500" y="901700"/>
            <a:ext cx="5270500" cy="50038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nl-NL"/>
              <a:t>[Klik op het pictogram om een grafiek in te voegen]</a:t>
            </a:r>
          </a:p>
        </p:txBody>
      </p:sp>
      <p:sp>
        <p:nvSpPr>
          <p:cNvPr id="21" name="Titel 3">
            <a:extLst>
              <a:ext uri="{FF2B5EF4-FFF2-40B4-BE49-F238E27FC236}">
                <a16:creationId xmlns:a16="http://schemas.microsoft.com/office/drawing/2014/main" id="{F548B06A-1846-F441-AE2D-B2B42923CF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4313883" cy="976633"/>
          </a:xfrm>
        </p:spPr>
        <p:txBody>
          <a:bodyPr/>
          <a:lstStyle/>
          <a:p>
            <a:pPr lvl="0"/>
            <a:r>
              <a:rPr lang="nl-NL"/>
              <a:t>Tekst pagina </a:t>
            </a:r>
            <a:r>
              <a:rPr lang="nl-NL" b="1">
                <a:latin typeface="Roboto Condensed" panose="02000000000000000000" pitchFamily="2" charset="0"/>
                <a:ea typeface="Roboto Condensed" panose="02000000000000000000" pitchFamily="2" charset="0"/>
              </a:rPr>
              <a:t>Met één objec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6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, grafiek zond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6">
            <a:extLst>
              <a:ext uri="{FF2B5EF4-FFF2-40B4-BE49-F238E27FC236}">
                <a16:creationId xmlns:a16="http://schemas.microsoft.com/office/drawing/2014/main" id="{86E1ED0D-B9AC-FD49-ACDE-113145B6AD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701" r="675" b="1701"/>
          <a:stretch/>
        </p:blipFill>
        <p:spPr>
          <a:xfrm>
            <a:off x="5225143" y="0"/>
            <a:ext cx="6966857" cy="6858000"/>
          </a:xfrm>
          <a:prstGeom prst="rect">
            <a:avLst/>
          </a:prstGeom>
        </p:spPr>
      </p:pic>
      <p:sp>
        <p:nvSpPr>
          <p:cNvPr id="9" name="Chart Placeholder 17">
            <a:extLst>
              <a:ext uri="{FF2B5EF4-FFF2-40B4-BE49-F238E27FC236}">
                <a16:creationId xmlns:a16="http://schemas.microsoft.com/office/drawing/2014/main" id="{9B7F1C84-2BB2-7641-8425-915F48BC7022}"/>
              </a:ext>
            </a:extLst>
          </p:cNvPr>
          <p:cNvSpPr>
            <a:spLocks noGrp="1"/>
          </p:cNvSpPr>
          <p:nvPr>
            <p:ph type="chart" sz="quarter" idx="1008" hasCustomPrompt="1"/>
          </p:nvPr>
        </p:nvSpPr>
        <p:spPr>
          <a:xfrm>
            <a:off x="6273500" y="901700"/>
            <a:ext cx="5270500" cy="50038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nl-NL"/>
              <a:t>[Klik op het pictogram om een grafiek in te voegen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99A6BE-E335-FD40-AE87-E371F43FE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1" name="Tijdelijke aanduiding voor tekst 21">
            <a:extLst>
              <a:ext uri="{FF2B5EF4-FFF2-40B4-BE49-F238E27FC236}">
                <a16:creationId xmlns:a16="http://schemas.microsoft.com/office/drawing/2014/main" id="{29EE709F-C9CF-224A-AD2F-28441FD39486}"/>
              </a:ext>
            </a:extLst>
          </p:cNvPr>
          <p:cNvSpPr>
            <a:spLocks noGrp="1"/>
          </p:cNvSpPr>
          <p:nvPr>
            <p:ph type="body" sz="quarter" idx="1006"/>
          </p:nvPr>
        </p:nvSpPr>
        <p:spPr>
          <a:xfrm>
            <a:off x="648000" y="901701"/>
            <a:ext cx="4392000" cy="5092700"/>
          </a:xfrm>
        </p:spPr>
        <p:txBody>
          <a:bodyPr/>
          <a:lstStyle>
            <a:lvl1pPr marL="342000" indent="-342000">
              <a:defRPr sz="1400">
                <a:latin typeface="+mn-lt"/>
              </a:defRPr>
            </a:lvl1pPr>
          </a:lstStyle>
          <a:p>
            <a:pPr marL="0" indent="0">
              <a:buNone/>
            </a:pPr>
            <a:r>
              <a:rPr lang="nl-NL" err="1"/>
              <a:t>Lorem</a:t>
            </a:r>
            <a:r>
              <a:rPr lang="nl-NL"/>
              <a:t> </a:t>
            </a:r>
            <a:r>
              <a:rPr lang="nl-NL" err="1"/>
              <a:t>ipsum</a:t>
            </a:r>
            <a:r>
              <a:rPr lang="nl-NL"/>
              <a:t> </a:t>
            </a:r>
            <a:r>
              <a:rPr lang="nl-NL" err="1"/>
              <a:t>dolor</a:t>
            </a:r>
            <a:r>
              <a:rPr lang="nl-NL"/>
              <a:t> </a:t>
            </a:r>
            <a:r>
              <a:rPr lang="nl-NL" err="1"/>
              <a:t>sit</a:t>
            </a:r>
            <a:r>
              <a:rPr lang="nl-NL"/>
              <a:t> </a:t>
            </a:r>
            <a:r>
              <a:rPr lang="nl-NL" err="1"/>
              <a:t>amet</a:t>
            </a:r>
            <a:r>
              <a:rPr lang="nl-NL"/>
              <a:t>, </a:t>
            </a:r>
            <a:r>
              <a:rPr lang="nl-NL" err="1"/>
              <a:t>consectetuer</a:t>
            </a:r>
            <a:r>
              <a:rPr lang="nl-NL"/>
              <a:t> </a:t>
            </a:r>
            <a:r>
              <a:rPr lang="nl-NL" err="1"/>
              <a:t>adipiscing</a:t>
            </a:r>
            <a:r>
              <a:rPr lang="nl-NL"/>
              <a:t> </a:t>
            </a:r>
            <a:r>
              <a:rPr lang="nl-NL" err="1"/>
              <a:t>elit</a:t>
            </a:r>
            <a:r>
              <a:rPr lang="nl-NL"/>
              <a:t>. </a:t>
            </a:r>
            <a:r>
              <a:rPr lang="nl-NL" err="1"/>
              <a:t>Aenean</a:t>
            </a:r>
            <a:r>
              <a:rPr lang="nl-NL"/>
              <a:t> commodo </a:t>
            </a:r>
            <a:r>
              <a:rPr lang="nl-NL" err="1"/>
              <a:t>ligula</a:t>
            </a:r>
            <a:r>
              <a:rPr lang="nl-NL"/>
              <a:t> </a:t>
            </a:r>
            <a:r>
              <a:rPr lang="nl-NL" err="1"/>
              <a:t>eget</a:t>
            </a:r>
            <a:r>
              <a:rPr lang="nl-NL"/>
              <a:t> </a:t>
            </a:r>
            <a:r>
              <a:rPr lang="nl-NL" err="1"/>
              <a:t>dolor</a:t>
            </a:r>
            <a:r>
              <a:rPr lang="nl-NL"/>
              <a:t>. </a:t>
            </a:r>
            <a:r>
              <a:rPr lang="nl-NL" err="1"/>
              <a:t>Aenean</a:t>
            </a:r>
            <a:r>
              <a:rPr lang="nl-NL"/>
              <a:t> massa. Cum </a:t>
            </a:r>
            <a:r>
              <a:rPr lang="nl-NL" err="1"/>
              <a:t>sociis</a:t>
            </a:r>
            <a:r>
              <a:rPr lang="nl-NL"/>
              <a:t> </a:t>
            </a:r>
            <a:r>
              <a:rPr lang="nl-NL" err="1"/>
              <a:t>natoque</a:t>
            </a:r>
            <a:r>
              <a:rPr lang="nl-NL"/>
              <a:t> </a:t>
            </a:r>
            <a:r>
              <a:rPr lang="nl-NL" err="1"/>
              <a:t>penatibus</a:t>
            </a:r>
            <a:r>
              <a:rPr lang="nl-NL"/>
              <a:t> et </a:t>
            </a:r>
            <a:r>
              <a:rPr lang="nl-NL" err="1"/>
              <a:t>magnis</a:t>
            </a:r>
            <a:r>
              <a:rPr lang="nl-NL"/>
              <a:t> dis </a:t>
            </a:r>
            <a:r>
              <a:rPr lang="nl-NL" err="1"/>
              <a:t>parturient</a:t>
            </a:r>
            <a:r>
              <a:rPr lang="nl-NL"/>
              <a:t> </a:t>
            </a:r>
            <a:r>
              <a:rPr lang="nl-NL" err="1"/>
              <a:t>montes</a:t>
            </a:r>
            <a:r>
              <a:rPr lang="nl-NL"/>
              <a:t>, </a:t>
            </a:r>
            <a:r>
              <a:rPr lang="nl-NL" err="1"/>
              <a:t>nascetur</a:t>
            </a:r>
            <a:r>
              <a:rPr lang="nl-NL"/>
              <a:t> </a:t>
            </a:r>
            <a:r>
              <a:rPr lang="nl-NL" err="1"/>
              <a:t>ridiculus</a:t>
            </a:r>
            <a:r>
              <a:rPr lang="nl-NL"/>
              <a:t> mus. </a:t>
            </a:r>
            <a:r>
              <a:rPr lang="nl-NL" err="1"/>
              <a:t>Donec</a:t>
            </a:r>
            <a:r>
              <a:rPr lang="nl-NL"/>
              <a:t> </a:t>
            </a:r>
            <a:r>
              <a:rPr lang="nl-NL" err="1"/>
              <a:t>quam</a:t>
            </a:r>
            <a:r>
              <a:rPr lang="nl-NL"/>
              <a:t> </a:t>
            </a:r>
            <a:r>
              <a:rPr lang="nl-NL" err="1"/>
              <a:t>felis</a:t>
            </a:r>
            <a:r>
              <a:rPr lang="nl-NL"/>
              <a:t>, </a:t>
            </a:r>
            <a:r>
              <a:rPr lang="nl-NL" err="1"/>
              <a:t>ultricies</a:t>
            </a:r>
            <a:r>
              <a:rPr lang="nl-NL"/>
              <a:t> </a:t>
            </a:r>
            <a:r>
              <a:rPr lang="nl-NL" err="1"/>
              <a:t>nec</a:t>
            </a:r>
            <a:r>
              <a:rPr lang="nl-NL"/>
              <a:t>, </a:t>
            </a:r>
            <a:r>
              <a:rPr lang="nl-NL" err="1"/>
              <a:t>pellentesque</a:t>
            </a:r>
            <a:r>
              <a:rPr lang="nl-NL"/>
              <a:t> </a:t>
            </a:r>
            <a:r>
              <a:rPr lang="nl-NL" err="1"/>
              <a:t>eu</a:t>
            </a:r>
            <a:r>
              <a:rPr lang="nl-NL"/>
              <a:t>, </a:t>
            </a:r>
            <a:r>
              <a:rPr lang="nl-NL" err="1"/>
              <a:t>pretium</a:t>
            </a:r>
            <a:r>
              <a:rPr lang="nl-NL"/>
              <a:t> </a:t>
            </a:r>
            <a:r>
              <a:rPr lang="nl-NL" err="1"/>
              <a:t>quis</a:t>
            </a:r>
            <a:r>
              <a:rPr lang="nl-NL"/>
              <a:t>, </a:t>
            </a:r>
            <a:r>
              <a:rPr lang="nl-NL" err="1"/>
              <a:t>sem</a:t>
            </a:r>
            <a:r>
              <a:rPr lang="nl-NL"/>
              <a:t>. </a:t>
            </a:r>
            <a:r>
              <a:rPr lang="nl-NL" err="1"/>
              <a:t>Nulla</a:t>
            </a:r>
            <a:r>
              <a:rPr lang="nl-NL"/>
              <a:t> </a:t>
            </a:r>
            <a:r>
              <a:rPr lang="nl-NL" err="1"/>
              <a:t>consequat</a:t>
            </a:r>
            <a:r>
              <a:rPr lang="nl-NL"/>
              <a:t> massa </a:t>
            </a:r>
            <a:r>
              <a:rPr lang="nl-NL" err="1"/>
              <a:t>quis</a:t>
            </a:r>
            <a:r>
              <a:rPr lang="nl-NL"/>
              <a:t> </a:t>
            </a:r>
            <a:r>
              <a:rPr lang="nl-NL" err="1"/>
              <a:t>enim</a:t>
            </a:r>
            <a:r>
              <a:rPr lang="nl-NL"/>
              <a:t>. </a:t>
            </a:r>
            <a:r>
              <a:rPr lang="nl-NL" err="1"/>
              <a:t>Donec</a:t>
            </a:r>
            <a:r>
              <a:rPr lang="nl-NL"/>
              <a:t> pede </a:t>
            </a:r>
            <a:r>
              <a:rPr lang="nl-NL" err="1"/>
              <a:t>justo</a:t>
            </a:r>
            <a:r>
              <a:rPr lang="nl-NL"/>
              <a:t>, </a:t>
            </a:r>
            <a:r>
              <a:rPr lang="nl-NL" err="1"/>
              <a:t>fringilla</a:t>
            </a:r>
            <a:r>
              <a:rPr lang="nl-NL"/>
              <a:t> vel, </a:t>
            </a:r>
            <a:r>
              <a:rPr lang="nl-NL" err="1"/>
              <a:t>aliquet</a:t>
            </a:r>
            <a:r>
              <a:rPr lang="nl-NL"/>
              <a:t> </a:t>
            </a:r>
            <a:r>
              <a:rPr lang="nl-NL" err="1"/>
              <a:t>nec</a:t>
            </a:r>
            <a:r>
              <a:rPr lang="nl-NL"/>
              <a:t>, </a:t>
            </a:r>
            <a:r>
              <a:rPr lang="nl-NL" err="1"/>
              <a:t>vulputate</a:t>
            </a:r>
            <a:r>
              <a:rPr lang="nl-NL"/>
              <a:t> </a:t>
            </a:r>
            <a:r>
              <a:rPr lang="nl-NL" err="1"/>
              <a:t>eget</a:t>
            </a:r>
            <a:r>
              <a:rPr lang="nl-NL"/>
              <a:t>, </a:t>
            </a:r>
            <a:r>
              <a:rPr lang="nl-NL" err="1"/>
              <a:t>arcu</a:t>
            </a:r>
            <a:r>
              <a:rPr lang="nl-NL"/>
              <a:t>. In </a:t>
            </a:r>
            <a:r>
              <a:rPr lang="nl-NL" err="1"/>
              <a:t>enim</a:t>
            </a:r>
            <a:r>
              <a:rPr lang="nl-NL"/>
              <a:t> </a:t>
            </a:r>
            <a:r>
              <a:rPr lang="nl-NL" err="1"/>
              <a:t>justo</a:t>
            </a:r>
            <a:r>
              <a:rPr lang="nl-NL"/>
              <a:t>, </a:t>
            </a:r>
            <a:r>
              <a:rPr lang="nl-NL" err="1"/>
              <a:t>rhoncus</a:t>
            </a:r>
            <a:r>
              <a:rPr lang="nl-NL"/>
              <a:t> ut, </a:t>
            </a:r>
            <a:r>
              <a:rPr lang="nl-NL" err="1"/>
              <a:t>imperdiet</a:t>
            </a:r>
            <a:r>
              <a:rPr lang="nl-NL"/>
              <a:t> a, </a:t>
            </a:r>
            <a:r>
              <a:rPr lang="nl-NL" err="1"/>
              <a:t>venenatis</a:t>
            </a:r>
            <a:r>
              <a:rPr lang="nl-NL"/>
              <a:t> vitae, </a:t>
            </a:r>
            <a:r>
              <a:rPr lang="nl-NL" err="1"/>
              <a:t>justo</a:t>
            </a:r>
            <a:r>
              <a:rPr lang="nl-NL"/>
              <a:t>. </a:t>
            </a:r>
            <a:r>
              <a:rPr lang="nl-NL" err="1"/>
              <a:t>Nullam</a:t>
            </a:r>
            <a:r>
              <a:rPr lang="nl-NL"/>
              <a:t> dictum </a:t>
            </a:r>
            <a:r>
              <a:rPr lang="nl-NL" err="1"/>
              <a:t>felis</a:t>
            </a:r>
            <a:r>
              <a:rPr lang="nl-NL"/>
              <a:t> </a:t>
            </a:r>
            <a:r>
              <a:rPr lang="nl-NL" err="1"/>
              <a:t>eu</a:t>
            </a:r>
            <a:r>
              <a:rPr lang="nl-NL"/>
              <a:t> pede </a:t>
            </a:r>
            <a:r>
              <a:rPr lang="nl-NL" err="1"/>
              <a:t>mollis</a:t>
            </a:r>
            <a:r>
              <a:rPr lang="nl-NL"/>
              <a:t> </a:t>
            </a:r>
            <a:r>
              <a:rPr lang="nl-NL" err="1"/>
              <a:t>pretium</a:t>
            </a:r>
            <a:r>
              <a:rPr lang="nl-NL"/>
              <a:t>. Integer </a:t>
            </a:r>
            <a:r>
              <a:rPr lang="nl-NL" err="1"/>
              <a:t>tincidunt</a:t>
            </a:r>
            <a:r>
              <a:rPr lang="nl-NL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048159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, grafiek (kle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7C5C84-E4B4-9449-B1B3-2D94296A7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31B7F0E2-EBDB-5242-885F-CA97BA81AF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909332"/>
            <a:ext cx="7392216" cy="3744000"/>
          </a:xfrm>
        </p:spPr>
        <p:txBody>
          <a:bodyPr/>
          <a:lstStyle>
            <a:lvl1pPr marL="342000" indent="-342000">
              <a:defRPr sz="1400">
                <a:latin typeface="+mn-lt"/>
              </a:defRPr>
            </a:lvl1pPr>
          </a:lstStyle>
          <a:p>
            <a:pPr marL="0" indent="0">
              <a:buNone/>
            </a:pPr>
            <a:r>
              <a:rPr lang="nl-NL"/>
              <a:t>[Type je tekst hier]</a:t>
            </a:r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149A6D13-2869-124F-80BD-7346DC7A3C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60511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Tekst pagina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een grafiek</a:t>
            </a:r>
            <a:endParaRPr lang="nl-NL" sz="360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7310844-1790-D94E-BAEE-98ACFB344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74B185F8-0AED-DA4D-A9BB-CB412B218325}"/>
              </a:ext>
            </a:extLst>
          </p:cNvPr>
          <p:cNvSpPr>
            <a:spLocks noGrp="1"/>
          </p:cNvSpPr>
          <p:nvPr>
            <p:ph type="chart" sz="quarter" idx="1005" hasCustomPrompt="1"/>
          </p:nvPr>
        </p:nvSpPr>
        <p:spPr>
          <a:xfrm>
            <a:off x="8235950" y="1910007"/>
            <a:ext cx="3779838" cy="374332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l-NL"/>
              <a:t>[Klik op het pictogram om een grafiek in te voegen]</a:t>
            </a:r>
          </a:p>
        </p:txBody>
      </p:sp>
    </p:spTree>
    <p:extLst>
      <p:ext uri="{BB962C8B-B14F-4D97-AF65-F5344CB8AC3E}">
        <p14:creationId xmlns:p14="http://schemas.microsoft.com/office/powerpoint/2010/main" val="35101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3 grafieken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 noSelect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4" name="Tijdelijke aanduiding voor tekst 3"/>
          <p:cNvSpPr>
            <a:spLocks noGrp="1" noSelect="1"/>
          </p:cNvSpPr>
          <p:nvPr>
            <p:ph type="body" sz="quarter" idx="18" hasCustomPrompt="1"/>
          </p:nvPr>
        </p:nvSpPr>
        <p:spPr bwMode="gray">
          <a:xfrm>
            <a:off x="8328516" y="4417620"/>
            <a:ext cx="2412000" cy="1588550"/>
          </a:xfrm>
        </p:spPr>
        <p:txBody>
          <a:bodyPr/>
          <a:lstStyle>
            <a:lvl1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1pPr>
            <a:lvl2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2pPr>
            <a:lvl3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3pPr>
            <a:lvl4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5pPr>
            <a:lvl6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6pPr>
            <a:lvl7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7pPr>
            <a:lvl8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8pPr>
            <a:lvl9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9pPr>
          </a:lstStyle>
          <a:p>
            <a:pPr lvl="0"/>
            <a:r>
              <a:rPr lang="nl-NL" noProof="1"/>
              <a:t>[Tekst (accent= Selecteer tekst, maak deze Roboto vet)]</a:t>
            </a:r>
            <a:endParaRPr lang="nl-NL"/>
          </a:p>
        </p:txBody>
      </p:sp>
      <p:sp>
        <p:nvSpPr>
          <p:cNvPr id="13" name="Tijdelijke aanduiding voor tekst 2"/>
          <p:cNvSpPr>
            <a:spLocks noGrp="1" noSelect="1"/>
          </p:cNvSpPr>
          <p:nvPr>
            <p:ph type="body" sz="quarter" idx="17" hasCustomPrompt="1"/>
          </p:nvPr>
        </p:nvSpPr>
        <p:spPr bwMode="gray">
          <a:xfrm>
            <a:off x="4764120" y="4417620"/>
            <a:ext cx="2412000" cy="1588550"/>
          </a:xfrm>
        </p:spPr>
        <p:txBody>
          <a:bodyPr/>
          <a:lstStyle>
            <a:lvl1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1pPr>
            <a:lvl2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2pPr>
            <a:lvl3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3pPr>
            <a:lvl4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5pPr>
            <a:lvl6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6pPr>
            <a:lvl7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7pPr>
            <a:lvl8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8pPr>
            <a:lvl9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9pPr>
          </a:lstStyle>
          <a:p>
            <a:pPr lvl="0"/>
            <a:r>
              <a:rPr lang="nl-NL" noProof="1"/>
              <a:t>[Tekst (accent= Selecteer tekst, maak deze Roboto vet)]</a:t>
            </a:r>
            <a:endParaRPr lang="nl-NL"/>
          </a:p>
        </p:txBody>
      </p:sp>
      <p:sp>
        <p:nvSpPr>
          <p:cNvPr id="12" name="Tijdelijke aanduiding voor tekst 1 (JU-Free)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43647" y="4417620"/>
            <a:ext cx="2412000" cy="1588550"/>
          </a:xfrm>
        </p:spPr>
        <p:txBody>
          <a:bodyPr/>
          <a:lstStyle>
            <a:lvl1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1pPr>
            <a:lvl2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2pPr>
            <a:lvl3pPr marL="0" indent="0" algn="ctr">
              <a:lnSpc>
                <a:spcPct val="137000"/>
              </a:lnSpc>
              <a:spcBef>
                <a:spcPts val="0"/>
              </a:spcBef>
              <a:buNone/>
              <a:defRPr sz="1300"/>
            </a:lvl3pPr>
            <a:lvl4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5pPr>
            <a:lvl6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6pPr>
            <a:lvl7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7pPr>
            <a:lvl8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8pPr>
            <a:lvl9pPr marL="0" indent="0" algn="ctr">
              <a:lnSpc>
                <a:spcPct val="137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/>
            </a:lvl9pPr>
          </a:lstStyle>
          <a:p>
            <a:pPr lvl="0"/>
            <a:r>
              <a:rPr lang="nl-NL" noProof="1"/>
              <a:t>[Tekst (accent= Selecteer tekst, maak deze Roboto vet)]</a:t>
            </a:r>
          </a:p>
          <a:p>
            <a:pPr lvl="0"/>
            <a:r>
              <a:rPr lang="nl-NL" noProof="1"/>
              <a:t>JU-LEVEL1= Standaard</a:t>
            </a:r>
          </a:p>
          <a:p>
            <a:pPr lvl="0"/>
            <a:endParaRPr lang="nl-NL"/>
          </a:p>
        </p:txBody>
      </p:sp>
      <p:sp>
        <p:nvSpPr>
          <p:cNvPr id="18" name="Ovaal 3"/>
          <p:cNvSpPr>
            <a:spLocks noSelect="1"/>
          </p:cNvSpPr>
          <p:nvPr userDrawn="1"/>
        </p:nvSpPr>
        <p:spPr bwMode="gray">
          <a:xfrm>
            <a:off x="8552780" y="2108782"/>
            <a:ext cx="1866081" cy="1866081"/>
          </a:xfrm>
          <a:prstGeom prst="ellipse">
            <a:avLst/>
          </a:prstGeom>
          <a:noFill/>
          <a:ln w="28575">
            <a:solidFill>
              <a:srgbClr val="F58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Ovaal 2"/>
          <p:cNvSpPr>
            <a:spLocks noSelect="1"/>
          </p:cNvSpPr>
          <p:nvPr userDrawn="1"/>
        </p:nvSpPr>
        <p:spPr bwMode="gray">
          <a:xfrm>
            <a:off x="5010132" y="2108727"/>
            <a:ext cx="1866081" cy="1866081"/>
          </a:xfrm>
          <a:prstGeom prst="ellipse">
            <a:avLst/>
          </a:prstGeom>
          <a:noFill/>
          <a:ln w="28575">
            <a:solidFill>
              <a:srgbClr val="F58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Ovaal 1"/>
          <p:cNvSpPr>
            <a:spLocks noSelect="1"/>
          </p:cNvSpPr>
          <p:nvPr userDrawn="1"/>
        </p:nvSpPr>
        <p:spPr bwMode="gray">
          <a:xfrm>
            <a:off x="1871278" y="2121739"/>
            <a:ext cx="1866081" cy="1866081"/>
          </a:xfrm>
          <a:prstGeom prst="ellipse">
            <a:avLst/>
          </a:prstGeom>
          <a:noFill/>
          <a:ln w="28575">
            <a:solidFill>
              <a:srgbClr val="F58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jdelijke aanduiding voor grafiek 3"/>
          <p:cNvSpPr>
            <a:spLocks noGrp="1" noSelect="1"/>
          </p:cNvSpPr>
          <p:nvPr>
            <p:ph type="chart" sz="quarter" idx="16" hasCustomPrompt="1"/>
          </p:nvPr>
        </p:nvSpPr>
        <p:spPr bwMode="gray">
          <a:xfrm>
            <a:off x="8328248" y="1880449"/>
            <a:ext cx="2412268" cy="241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[Grafiek]</a:t>
            </a:r>
          </a:p>
        </p:txBody>
      </p:sp>
      <p:sp>
        <p:nvSpPr>
          <p:cNvPr id="10" name="Tijdelijke aanduiding voor grafiek 2"/>
          <p:cNvSpPr>
            <a:spLocks noGrp="1" noSelect="1"/>
          </p:cNvSpPr>
          <p:nvPr>
            <p:ph type="chart" sz="quarter" idx="15" hasCustomPrompt="1"/>
          </p:nvPr>
        </p:nvSpPr>
        <p:spPr bwMode="gray">
          <a:xfrm>
            <a:off x="4763852" y="1880449"/>
            <a:ext cx="2412268" cy="241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[Grafiek]</a:t>
            </a:r>
          </a:p>
        </p:txBody>
      </p:sp>
      <p:sp>
        <p:nvSpPr>
          <p:cNvPr id="6" name="Tijdelijke aanduiding voor grafiek 1"/>
          <p:cNvSpPr>
            <a:spLocks noGrp="1" noSelect="1"/>
          </p:cNvSpPr>
          <p:nvPr>
            <p:ph type="chart" sz="quarter" idx="14" hasCustomPrompt="1"/>
          </p:nvPr>
        </p:nvSpPr>
        <p:spPr bwMode="gray">
          <a:xfrm>
            <a:off x="1643379" y="1880449"/>
            <a:ext cx="2412268" cy="241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[Grafiek]</a:t>
            </a:r>
          </a:p>
        </p:txBody>
      </p:sp>
      <p:sp>
        <p:nvSpPr>
          <p:cNvPr id="17" name="%3"/>
          <p:cNvSpPr>
            <a:spLocks noGrp="1" noSelect="1"/>
          </p:cNvSpPr>
          <p:nvPr>
            <p:ph type="body" sz="quarter" idx="21" hasCustomPrompt="1"/>
          </p:nvPr>
        </p:nvSpPr>
        <p:spPr bwMode="gray">
          <a:xfrm>
            <a:off x="8670286" y="2718000"/>
            <a:ext cx="1728192" cy="82809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 b="0">
                <a:solidFill>
                  <a:schemeClr val="accent4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9pPr>
          </a:lstStyle>
          <a:p>
            <a:pPr lvl="0"/>
            <a:r>
              <a:rPr lang="nl-NL" noProof="1"/>
              <a:t>[%]</a:t>
            </a:r>
          </a:p>
        </p:txBody>
      </p:sp>
      <p:sp>
        <p:nvSpPr>
          <p:cNvPr id="16" name="%2"/>
          <p:cNvSpPr>
            <a:spLocks noGrp="1" noSelect="1"/>
          </p:cNvSpPr>
          <p:nvPr>
            <p:ph type="body" sz="quarter" idx="20" hasCustomPrompt="1"/>
          </p:nvPr>
        </p:nvSpPr>
        <p:spPr bwMode="gray">
          <a:xfrm>
            <a:off x="5105890" y="2718000"/>
            <a:ext cx="1728192" cy="82809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 b="0">
                <a:solidFill>
                  <a:schemeClr val="accent4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9pPr>
          </a:lstStyle>
          <a:p>
            <a:pPr lvl="0"/>
            <a:r>
              <a:rPr lang="nl-NL" noProof="1"/>
              <a:t>[%]</a:t>
            </a:r>
          </a:p>
        </p:txBody>
      </p:sp>
      <p:sp>
        <p:nvSpPr>
          <p:cNvPr id="15" name="%1"/>
          <p:cNvSpPr>
            <a:spLocks noGrp="1" noSelect="1"/>
          </p:cNvSpPr>
          <p:nvPr>
            <p:ph type="body" sz="quarter" idx="19" hasCustomPrompt="1"/>
          </p:nvPr>
        </p:nvSpPr>
        <p:spPr bwMode="gray">
          <a:xfrm>
            <a:off x="1985417" y="2718000"/>
            <a:ext cx="1728192" cy="82809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4600">
                <a:solidFill>
                  <a:schemeClr val="accent4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 b="0">
                <a:solidFill>
                  <a:schemeClr val="accent4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600">
                <a:solidFill>
                  <a:schemeClr val="accent4"/>
                </a:solidFill>
              </a:defRPr>
            </a:lvl9pPr>
          </a:lstStyle>
          <a:p>
            <a:pPr lvl="0"/>
            <a:r>
              <a:rPr lang="nl-NL" noProof="1"/>
              <a:t>[%]</a:t>
            </a:r>
          </a:p>
        </p:txBody>
      </p:sp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nl-NL" noProof="1"/>
              <a:t>[titel]</a:t>
            </a:r>
            <a:endParaRPr lang="nl-NL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E9332AC-2ECC-4206-A366-FA2543290FCD}"/>
              </a:ext>
            </a:extLst>
          </p:cNvPr>
          <p:cNvSpPr>
            <a:spLocks noGrp="1" noSelect="1"/>
          </p:cNvSpPr>
          <p:nvPr>
            <p:ph type="body" sz="quarter" idx="1004" hasCustomPrompt="1"/>
          </p:nvPr>
        </p:nvSpPr>
        <p:spPr>
          <a:xfrm>
            <a:off x="-2689583" y="592224"/>
            <a:ext cx="2628899" cy="172065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Het </a:t>
            </a:r>
            <a:r>
              <a:rPr lang="nl-NL" err="1"/>
              <a:t>titelvak</a:t>
            </a:r>
            <a:r>
              <a:rPr lang="nl-NL"/>
              <a:t> is opgemaakt in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Om woorden te accentueren: kies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</a:t>
            </a:r>
            <a:r>
              <a:rPr lang="nl-NL" err="1"/>
              <a:t>bold</a:t>
            </a:r>
            <a:endParaRPr lang="nl-NL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4E6AD3E-5A18-4E3C-A9B3-BC57E0F3B7EA}"/>
              </a:ext>
            </a:extLst>
          </p:cNvPr>
          <p:cNvSpPr>
            <a:spLocks noGrp="1" noSelect="1"/>
          </p:cNvSpPr>
          <p:nvPr>
            <p:ph type="body" sz="quarter" idx="1005" hasCustomPrompt="1"/>
          </p:nvPr>
        </p:nvSpPr>
        <p:spPr>
          <a:xfrm>
            <a:off x="-2689583" y="4426527"/>
            <a:ext cx="2628898" cy="172065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Deze tekstvakken zijn ook opgemaakt in </a:t>
            </a:r>
            <a:r>
              <a:rPr lang="nl-NL" err="1"/>
              <a:t>Roboto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Om woorden te accentueren: kies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bold</a:t>
            </a:r>
            <a:endParaRPr lang="nl-NL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E967FE3F-E82E-2142-8498-58EBD0C3DAF0}"/>
              </a:ext>
            </a:extLst>
          </p:cNvPr>
          <p:cNvSpPr>
            <a:spLocks noGrp="1"/>
          </p:cNvSpPr>
          <p:nvPr>
            <p:ph type="body" sz="quarter" idx="1006" hasCustomPrompt="1"/>
          </p:nvPr>
        </p:nvSpPr>
        <p:spPr>
          <a:xfrm>
            <a:off x="647700" y="1031975"/>
            <a:ext cx="6375400" cy="457200"/>
          </a:xfrm>
        </p:spPr>
        <p:txBody>
          <a:bodyPr/>
          <a:lstStyle/>
          <a:p>
            <a:pPr lvl="3" indent="-342000"/>
            <a:r>
              <a:rPr lang="nl-NL" sz="2200" b="0">
                <a:solidFill>
                  <a:srgbClr val="F5822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3852657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1A3E4A-6B56-4574-90D4-0BC852208371}"/>
              </a:ext>
            </a:extLst>
          </p:cNvPr>
          <p:cNvSpPr>
            <a:spLocks noGrp="1" noSelect="1"/>
          </p:cNvSpPr>
          <p:nvPr>
            <p:ph type="body" sz="quarter" idx="1004" hasCustomPrompt="1"/>
          </p:nvPr>
        </p:nvSpPr>
        <p:spPr>
          <a:xfrm>
            <a:off x="-2689583" y="592224"/>
            <a:ext cx="2628899" cy="172065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Het </a:t>
            </a:r>
            <a:r>
              <a:rPr lang="nl-NL" err="1"/>
              <a:t>titelvak</a:t>
            </a:r>
            <a:r>
              <a:rPr lang="nl-NL"/>
              <a:t> is opgemaakt in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Om woorden te accentueren: kies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</a:t>
            </a:r>
            <a:r>
              <a:rPr lang="nl-NL" err="1"/>
              <a:t>bold</a:t>
            </a:r>
            <a:endParaRPr lang="nl-NL"/>
          </a:p>
        </p:txBody>
      </p:sp>
      <p:sp>
        <p:nvSpPr>
          <p:cNvPr id="6" name="Tijdelijke aanduiding voor tekst 2">
            <a:extLst>
              <a:ext uri="{FF2B5EF4-FFF2-40B4-BE49-F238E27FC236}">
                <a16:creationId xmlns:a16="http://schemas.microsoft.com/office/drawing/2014/main" id="{76033EAB-0E2A-584B-AF77-A30826D71E26}"/>
              </a:ext>
            </a:extLst>
          </p:cNvPr>
          <p:cNvSpPr txBox="1">
            <a:spLocks/>
          </p:cNvSpPr>
          <p:nvPr userDrawn="1"/>
        </p:nvSpPr>
        <p:spPr>
          <a:xfrm>
            <a:off x="558958" y="992050"/>
            <a:ext cx="6742990" cy="378075"/>
          </a:xfrm>
          <a:prstGeom prst="rect">
            <a:avLst/>
          </a:prstGeom>
        </p:spPr>
        <p:txBody>
          <a:bodyPr/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Char char="●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4000" indent="-34200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000" indent="-342000" algn="l" defTabSz="1088610" rtl="0" eaLnBrk="1" latinLnBrk="0" hangingPunct="1">
              <a:lnSpc>
                <a:spcPct val="137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Char char="●"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900" b="1" kern="1200" baseline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610" rtl="0" eaLnBrk="1" latinLnBrk="0" hangingPunct="1">
              <a:lnSpc>
                <a:spcPct val="137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200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400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000" indent="0" algn="l" defTabSz="1088610" rtl="0" eaLnBrk="1" latinLnBrk="0" hangingPunct="1">
              <a:lnSpc>
                <a:spcPct val="137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indent="-342000"/>
            <a:endParaRPr lang="nl-NL" sz="2200" b="0">
              <a:solidFill>
                <a:srgbClr val="F58220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538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+ ond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D8BA6238-2457-3F4A-A3BA-107E2F8E19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/>
          <a:p>
            <a:pPr lvl="0"/>
            <a:r>
              <a:rPr lang="nl-NL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itel</a:t>
            </a:r>
            <a:endParaRPr lang="nl-NL" b="1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0C21573-872B-3346-A63C-6AC6C192C2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646546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inddia">
    <p:bg bwMode="gray">
      <p:bgPr>
        <a:solidFill>
          <a:srgbClr val="F582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achtergrond"/>
          <p:cNvSpPr>
            <a:spLocks noSelect="1"/>
          </p:cNvSpPr>
          <p:nvPr userDrawn="1"/>
        </p:nvSpPr>
        <p:spPr bwMode="gray">
          <a:xfrm>
            <a:off x="-12815" y="536805"/>
            <a:ext cx="2448000" cy="540000"/>
          </a:xfrm>
          <a:custGeom>
            <a:avLst/>
            <a:gdLst>
              <a:gd name="T0" fmla="*/ 172 w 1255"/>
              <a:gd name="T1" fmla="*/ 56 h 277"/>
              <a:gd name="T2" fmla="*/ 0 w 1255"/>
              <a:gd name="T3" fmla="*/ 56 h 277"/>
              <a:gd name="T4" fmla="*/ 0 w 1255"/>
              <a:gd name="T5" fmla="*/ 221 h 277"/>
              <a:gd name="T6" fmla="*/ 176 w 1255"/>
              <a:gd name="T7" fmla="*/ 221 h 277"/>
              <a:gd name="T8" fmla="*/ 196 w 1255"/>
              <a:gd name="T9" fmla="*/ 277 h 277"/>
              <a:gd name="T10" fmla="*/ 350 w 1255"/>
              <a:gd name="T11" fmla="*/ 221 h 277"/>
              <a:gd name="T12" fmla="*/ 1255 w 1255"/>
              <a:gd name="T13" fmla="*/ 221 h 277"/>
              <a:gd name="T14" fmla="*/ 1255 w 1255"/>
              <a:gd name="T15" fmla="*/ 56 h 277"/>
              <a:gd name="T16" fmla="*/ 346 w 1255"/>
              <a:gd name="T17" fmla="*/ 56 h 277"/>
              <a:gd name="T18" fmla="*/ 326 w 1255"/>
              <a:gd name="T19" fmla="*/ 0 h 277"/>
              <a:gd name="T20" fmla="*/ 172 w 1255"/>
              <a:gd name="T21" fmla="*/ 5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5" h="277">
                <a:moveTo>
                  <a:pt x="172" y="56"/>
                </a:moveTo>
                <a:lnTo>
                  <a:pt x="0" y="56"/>
                </a:lnTo>
                <a:lnTo>
                  <a:pt x="0" y="221"/>
                </a:lnTo>
                <a:lnTo>
                  <a:pt x="176" y="221"/>
                </a:lnTo>
                <a:lnTo>
                  <a:pt x="196" y="277"/>
                </a:lnTo>
                <a:lnTo>
                  <a:pt x="350" y="221"/>
                </a:lnTo>
                <a:lnTo>
                  <a:pt x="1255" y="221"/>
                </a:lnTo>
                <a:lnTo>
                  <a:pt x="1255" y="56"/>
                </a:lnTo>
                <a:lnTo>
                  <a:pt x="346" y="56"/>
                </a:lnTo>
                <a:lnTo>
                  <a:pt x="326" y="0"/>
                </a:lnTo>
                <a:lnTo>
                  <a:pt x="172" y="5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nl-NL"/>
          </a:p>
        </p:txBody>
      </p:sp>
      <p:sp>
        <p:nvSpPr>
          <p:cNvPr id="6" name="Logo tekst"/>
          <p:cNvSpPr>
            <a:spLocks noSelect="1"/>
          </p:cNvSpPr>
          <p:nvPr userDrawn="1"/>
        </p:nvSpPr>
        <p:spPr bwMode="gray">
          <a:xfrm>
            <a:off x="312893" y="578502"/>
            <a:ext cx="1882800" cy="417600"/>
          </a:xfrm>
          <a:custGeom>
            <a:avLst/>
            <a:gdLst>
              <a:gd name="T0" fmla="*/ 12 w 1930"/>
              <a:gd name="T1" fmla="*/ 292 h 428"/>
              <a:gd name="T2" fmla="*/ 1064 w 1930"/>
              <a:gd name="T3" fmla="*/ 223 h 428"/>
              <a:gd name="T4" fmla="*/ 821 w 1930"/>
              <a:gd name="T5" fmla="*/ 366 h 428"/>
              <a:gd name="T6" fmla="*/ 916 w 1930"/>
              <a:gd name="T7" fmla="*/ 83 h 428"/>
              <a:gd name="T8" fmla="*/ 1011 w 1930"/>
              <a:gd name="T9" fmla="*/ 220 h 428"/>
              <a:gd name="T10" fmla="*/ 874 w 1930"/>
              <a:gd name="T11" fmla="*/ 128 h 428"/>
              <a:gd name="T12" fmla="*/ 907 w 1930"/>
              <a:gd name="T13" fmla="*/ 321 h 428"/>
              <a:gd name="T14" fmla="*/ 1170 w 1930"/>
              <a:gd name="T15" fmla="*/ 366 h 428"/>
              <a:gd name="T16" fmla="*/ 1226 w 1930"/>
              <a:gd name="T17" fmla="*/ 83 h 428"/>
              <a:gd name="T18" fmla="*/ 1170 w 1930"/>
              <a:gd name="T19" fmla="*/ 366 h 428"/>
              <a:gd name="T20" fmla="*/ 1394 w 1930"/>
              <a:gd name="T21" fmla="*/ 75 h 428"/>
              <a:gd name="T22" fmla="*/ 1343 w 1930"/>
              <a:gd name="T23" fmla="*/ 366 h 428"/>
              <a:gd name="T24" fmla="*/ 1391 w 1930"/>
              <a:gd name="T25" fmla="*/ 156 h 428"/>
              <a:gd name="T26" fmla="*/ 1522 w 1930"/>
              <a:gd name="T27" fmla="*/ 371 h 428"/>
              <a:gd name="T28" fmla="*/ 1578 w 1930"/>
              <a:gd name="T29" fmla="*/ 83 h 428"/>
              <a:gd name="T30" fmla="*/ 1528 w 1930"/>
              <a:gd name="T31" fmla="*/ 293 h 428"/>
              <a:gd name="T32" fmla="*/ 1880 w 1930"/>
              <a:gd name="T33" fmla="*/ 371 h 428"/>
              <a:gd name="T34" fmla="*/ 1754 w 1930"/>
              <a:gd name="T35" fmla="*/ 290 h 428"/>
              <a:gd name="T36" fmla="*/ 1673 w 1930"/>
              <a:gd name="T37" fmla="*/ 355 h 428"/>
              <a:gd name="T38" fmla="*/ 1830 w 1930"/>
              <a:gd name="T39" fmla="*/ 83 h 428"/>
              <a:gd name="T40" fmla="*/ 1838 w 1930"/>
              <a:gd name="T41" fmla="*/ 248 h 428"/>
              <a:gd name="T42" fmla="*/ 1768 w 1930"/>
              <a:gd name="T43" fmla="*/ 248 h 428"/>
              <a:gd name="T44" fmla="*/ 13 w 1930"/>
              <a:gd name="T45" fmla="*/ 292 h 428"/>
              <a:gd name="T46" fmla="*/ 13 w 1930"/>
              <a:gd name="T47" fmla="*/ 292 h 428"/>
              <a:gd name="T48" fmla="*/ 378 w 1930"/>
              <a:gd name="T49" fmla="*/ 308 h 428"/>
              <a:gd name="T50" fmla="*/ 114 w 1930"/>
              <a:gd name="T51" fmla="*/ 403 h 428"/>
              <a:gd name="T52" fmla="*/ 0 w 1930"/>
              <a:gd name="T53" fmla="*/ 223 h 428"/>
              <a:gd name="T54" fmla="*/ 131 w 1930"/>
              <a:gd name="T55" fmla="*/ 36 h 428"/>
              <a:gd name="T56" fmla="*/ 329 w 1930"/>
              <a:gd name="T57" fmla="*/ 174 h 428"/>
              <a:gd name="T58" fmla="*/ 72 w 1930"/>
              <a:gd name="T59" fmla="*/ 165 h 428"/>
              <a:gd name="T60" fmla="*/ 68 w 1930"/>
              <a:gd name="T61" fmla="*/ 272 h 428"/>
              <a:gd name="T62" fmla="*/ 246 w 1930"/>
              <a:gd name="T63" fmla="*/ 355 h 428"/>
              <a:gd name="T64" fmla="*/ 329 w 1930"/>
              <a:gd name="T65" fmla="*/ 174 h 428"/>
              <a:gd name="T66" fmla="*/ 734 w 1930"/>
              <a:gd name="T67" fmla="*/ 352 h 428"/>
              <a:gd name="T68" fmla="*/ 602 w 1930"/>
              <a:gd name="T69" fmla="*/ 262 h 428"/>
              <a:gd name="T70" fmla="*/ 566 w 1930"/>
              <a:gd name="T71" fmla="*/ 251 h 428"/>
              <a:gd name="T72" fmla="*/ 513 w 1930"/>
              <a:gd name="T73" fmla="*/ 366 h 428"/>
              <a:gd name="T74" fmla="*/ 605 w 1930"/>
              <a:gd name="T75" fmla="*/ 83 h 428"/>
              <a:gd name="T76" fmla="*/ 647 w 1930"/>
              <a:gd name="T77" fmla="*/ 237 h 428"/>
              <a:gd name="T78" fmla="*/ 600 w 1930"/>
              <a:gd name="T79" fmla="*/ 125 h 428"/>
              <a:gd name="T80" fmla="*/ 569 w 1930"/>
              <a:gd name="T81" fmla="*/ 209 h 428"/>
              <a:gd name="T82" fmla="*/ 647 w 1930"/>
              <a:gd name="T83" fmla="*/ 165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30" h="428">
                <a:moveTo>
                  <a:pt x="12" y="291"/>
                </a:moveTo>
                <a:cubicBezTo>
                  <a:pt x="12" y="292"/>
                  <a:pt x="12" y="292"/>
                  <a:pt x="12" y="292"/>
                </a:cubicBezTo>
                <a:cubicBezTo>
                  <a:pt x="12" y="291"/>
                  <a:pt x="12" y="291"/>
                  <a:pt x="12" y="291"/>
                </a:cubicBezTo>
                <a:close/>
                <a:moveTo>
                  <a:pt x="1064" y="223"/>
                </a:moveTo>
                <a:cubicBezTo>
                  <a:pt x="1064" y="308"/>
                  <a:pt x="993" y="365"/>
                  <a:pt x="918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3" y="83"/>
                  <a:pt x="823" y="83"/>
                  <a:pt x="823" y="83"/>
                </a:cubicBezTo>
                <a:cubicBezTo>
                  <a:pt x="916" y="83"/>
                  <a:pt x="916" y="83"/>
                  <a:pt x="916" y="83"/>
                </a:cubicBezTo>
                <a:cubicBezTo>
                  <a:pt x="1005" y="82"/>
                  <a:pt x="1064" y="138"/>
                  <a:pt x="1064" y="223"/>
                </a:cubicBezTo>
                <a:close/>
                <a:moveTo>
                  <a:pt x="1011" y="220"/>
                </a:moveTo>
                <a:cubicBezTo>
                  <a:pt x="1009" y="168"/>
                  <a:pt x="973" y="127"/>
                  <a:pt x="918" y="128"/>
                </a:cubicBezTo>
                <a:cubicBezTo>
                  <a:pt x="874" y="128"/>
                  <a:pt x="874" y="128"/>
                  <a:pt x="874" y="128"/>
                </a:cubicBezTo>
                <a:cubicBezTo>
                  <a:pt x="874" y="321"/>
                  <a:pt x="874" y="321"/>
                  <a:pt x="874" y="321"/>
                </a:cubicBezTo>
                <a:cubicBezTo>
                  <a:pt x="907" y="321"/>
                  <a:pt x="907" y="321"/>
                  <a:pt x="907" y="321"/>
                </a:cubicBezTo>
                <a:cubicBezTo>
                  <a:pt x="968" y="320"/>
                  <a:pt x="1009" y="285"/>
                  <a:pt x="1011" y="220"/>
                </a:cubicBezTo>
                <a:close/>
                <a:moveTo>
                  <a:pt x="1170" y="366"/>
                </a:moveTo>
                <a:cubicBezTo>
                  <a:pt x="1223" y="366"/>
                  <a:pt x="1223" y="366"/>
                  <a:pt x="1223" y="366"/>
                </a:cubicBezTo>
                <a:cubicBezTo>
                  <a:pt x="1226" y="83"/>
                  <a:pt x="1226" y="83"/>
                  <a:pt x="1226" y="83"/>
                </a:cubicBezTo>
                <a:cubicBezTo>
                  <a:pt x="1173" y="83"/>
                  <a:pt x="1173" y="83"/>
                  <a:pt x="1173" y="83"/>
                </a:cubicBezTo>
                <a:lnTo>
                  <a:pt x="1170" y="366"/>
                </a:lnTo>
                <a:close/>
                <a:moveTo>
                  <a:pt x="1528" y="293"/>
                </a:moveTo>
                <a:cubicBezTo>
                  <a:pt x="1394" y="75"/>
                  <a:pt x="1394" y="75"/>
                  <a:pt x="1394" y="75"/>
                </a:cubicBezTo>
                <a:cubicBezTo>
                  <a:pt x="1346" y="92"/>
                  <a:pt x="1346" y="92"/>
                  <a:pt x="1346" y="92"/>
                </a:cubicBezTo>
                <a:cubicBezTo>
                  <a:pt x="1343" y="366"/>
                  <a:pt x="1343" y="366"/>
                  <a:pt x="1343" y="366"/>
                </a:cubicBezTo>
                <a:cubicBezTo>
                  <a:pt x="1396" y="366"/>
                  <a:pt x="1396" y="366"/>
                  <a:pt x="1396" y="366"/>
                </a:cubicBezTo>
                <a:cubicBezTo>
                  <a:pt x="1391" y="156"/>
                  <a:pt x="1391" y="156"/>
                  <a:pt x="1391" y="156"/>
                </a:cubicBezTo>
                <a:cubicBezTo>
                  <a:pt x="1394" y="156"/>
                  <a:pt x="1394" y="156"/>
                  <a:pt x="1394" y="156"/>
                </a:cubicBezTo>
                <a:cubicBezTo>
                  <a:pt x="1522" y="371"/>
                  <a:pt x="1522" y="371"/>
                  <a:pt x="1522" y="371"/>
                </a:cubicBezTo>
                <a:cubicBezTo>
                  <a:pt x="1575" y="355"/>
                  <a:pt x="1575" y="355"/>
                  <a:pt x="1575" y="355"/>
                </a:cubicBezTo>
                <a:cubicBezTo>
                  <a:pt x="1578" y="83"/>
                  <a:pt x="1578" y="83"/>
                  <a:pt x="1578" y="83"/>
                </a:cubicBezTo>
                <a:cubicBezTo>
                  <a:pt x="1525" y="83"/>
                  <a:pt x="1525" y="83"/>
                  <a:pt x="1525" y="83"/>
                </a:cubicBezTo>
                <a:lnTo>
                  <a:pt x="1528" y="293"/>
                </a:lnTo>
                <a:close/>
                <a:moveTo>
                  <a:pt x="1930" y="355"/>
                </a:moveTo>
                <a:cubicBezTo>
                  <a:pt x="1880" y="371"/>
                  <a:pt x="1880" y="371"/>
                  <a:pt x="1880" y="371"/>
                </a:cubicBezTo>
                <a:cubicBezTo>
                  <a:pt x="1852" y="290"/>
                  <a:pt x="1852" y="290"/>
                  <a:pt x="1852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21" y="371"/>
                  <a:pt x="1721" y="371"/>
                  <a:pt x="1721" y="371"/>
                </a:cubicBezTo>
                <a:cubicBezTo>
                  <a:pt x="1673" y="355"/>
                  <a:pt x="1673" y="355"/>
                  <a:pt x="1673" y="355"/>
                </a:cubicBezTo>
                <a:cubicBezTo>
                  <a:pt x="1782" y="83"/>
                  <a:pt x="1782" y="83"/>
                  <a:pt x="1782" y="83"/>
                </a:cubicBezTo>
                <a:cubicBezTo>
                  <a:pt x="1830" y="83"/>
                  <a:pt x="1830" y="83"/>
                  <a:pt x="1830" y="83"/>
                </a:cubicBezTo>
                <a:lnTo>
                  <a:pt x="1930" y="355"/>
                </a:lnTo>
                <a:close/>
                <a:moveTo>
                  <a:pt x="1838" y="248"/>
                </a:moveTo>
                <a:cubicBezTo>
                  <a:pt x="1805" y="137"/>
                  <a:pt x="1805" y="137"/>
                  <a:pt x="1805" y="137"/>
                </a:cubicBezTo>
                <a:cubicBezTo>
                  <a:pt x="1768" y="248"/>
                  <a:pt x="1768" y="248"/>
                  <a:pt x="1768" y="248"/>
                </a:cubicBezTo>
                <a:lnTo>
                  <a:pt x="1838" y="248"/>
                </a:lnTo>
                <a:close/>
                <a:moveTo>
                  <a:pt x="13" y="292"/>
                </a:moveTo>
                <a:cubicBezTo>
                  <a:pt x="13" y="292"/>
                  <a:pt x="13" y="292"/>
                  <a:pt x="13" y="292"/>
                </a:cubicBezTo>
                <a:cubicBezTo>
                  <a:pt x="13" y="292"/>
                  <a:pt x="13" y="292"/>
                  <a:pt x="13" y="292"/>
                </a:cubicBezTo>
                <a:close/>
                <a:moveTo>
                  <a:pt x="384" y="154"/>
                </a:moveTo>
                <a:cubicBezTo>
                  <a:pt x="403" y="205"/>
                  <a:pt x="400" y="259"/>
                  <a:pt x="378" y="308"/>
                </a:cubicBezTo>
                <a:cubicBezTo>
                  <a:pt x="356" y="356"/>
                  <a:pt x="316" y="392"/>
                  <a:pt x="266" y="410"/>
                </a:cubicBezTo>
                <a:cubicBezTo>
                  <a:pt x="216" y="428"/>
                  <a:pt x="162" y="426"/>
                  <a:pt x="114" y="403"/>
                </a:cubicBezTo>
                <a:cubicBezTo>
                  <a:pt x="66" y="381"/>
                  <a:pt x="30" y="341"/>
                  <a:pt x="13" y="292"/>
                </a:cubicBezTo>
                <a:cubicBezTo>
                  <a:pt x="4" y="269"/>
                  <a:pt x="0" y="246"/>
                  <a:pt x="0" y="223"/>
                </a:cubicBezTo>
                <a:cubicBezTo>
                  <a:pt x="0" y="195"/>
                  <a:pt x="6" y="167"/>
                  <a:pt x="18" y="141"/>
                </a:cubicBezTo>
                <a:cubicBezTo>
                  <a:pt x="40" y="92"/>
                  <a:pt x="80" y="55"/>
                  <a:pt x="131" y="36"/>
                </a:cubicBezTo>
                <a:cubicBezTo>
                  <a:pt x="234" y="0"/>
                  <a:pt x="347" y="53"/>
                  <a:pt x="384" y="154"/>
                </a:cubicBezTo>
                <a:close/>
                <a:moveTo>
                  <a:pt x="329" y="174"/>
                </a:moveTo>
                <a:cubicBezTo>
                  <a:pt x="303" y="103"/>
                  <a:pt x="223" y="66"/>
                  <a:pt x="151" y="91"/>
                </a:cubicBezTo>
                <a:cubicBezTo>
                  <a:pt x="116" y="105"/>
                  <a:pt x="87" y="131"/>
                  <a:pt x="72" y="165"/>
                </a:cubicBezTo>
                <a:cubicBezTo>
                  <a:pt x="56" y="199"/>
                  <a:pt x="55" y="237"/>
                  <a:pt x="68" y="272"/>
                </a:cubicBezTo>
                <a:cubicBezTo>
                  <a:pt x="68" y="272"/>
                  <a:pt x="68" y="272"/>
                  <a:pt x="68" y="272"/>
                </a:cubicBezTo>
                <a:cubicBezTo>
                  <a:pt x="80" y="307"/>
                  <a:pt x="106" y="334"/>
                  <a:pt x="139" y="350"/>
                </a:cubicBezTo>
                <a:cubicBezTo>
                  <a:pt x="173" y="366"/>
                  <a:pt x="211" y="368"/>
                  <a:pt x="246" y="355"/>
                </a:cubicBezTo>
                <a:cubicBezTo>
                  <a:pt x="281" y="342"/>
                  <a:pt x="309" y="316"/>
                  <a:pt x="325" y="283"/>
                </a:cubicBezTo>
                <a:cubicBezTo>
                  <a:pt x="341" y="249"/>
                  <a:pt x="342" y="210"/>
                  <a:pt x="329" y="174"/>
                </a:cubicBezTo>
                <a:close/>
                <a:moveTo>
                  <a:pt x="647" y="237"/>
                </a:moveTo>
                <a:cubicBezTo>
                  <a:pt x="734" y="352"/>
                  <a:pt x="734" y="352"/>
                  <a:pt x="734" y="352"/>
                </a:cubicBezTo>
                <a:cubicBezTo>
                  <a:pt x="681" y="371"/>
                  <a:pt x="681" y="371"/>
                  <a:pt x="681" y="371"/>
                </a:cubicBezTo>
                <a:cubicBezTo>
                  <a:pt x="602" y="262"/>
                  <a:pt x="602" y="262"/>
                  <a:pt x="602" y="262"/>
                </a:cubicBezTo>
                <a:cubicBezTo>
                  <a:pt x="598" y="255"/>
                  <a:pt x="592" y="252"/>
                  <a:pt x="583" y="251"/>
                </a:cubicBezTo>
                <a:cubicBezTo>
                  <a:pt x="566" y="251"/>
                  <a:pt x="566" y="251"/>
                  <a:pt x="566" y="251"/>
                </a:cubicBezTo>
                <a:cubicBezTo>
                  <a:pt x="566" y="366"/>
                  <a:pt x="566" y="366"/>
                  <a:pt x="566" y="366"/>
                </a:cubicBezTo>
                <a:cubicBezTo>
                  <a:pt x="513" y="366"/>
                  <a:pt x="513" y="366"/>
                  <a:pt x="513" y="366"/>
                </a:cubicBezTo>
                <a:cubicBezTo>
                  <a:pt x="516" y="83"/>
                  <a:pt x="516" y="83"/>
                  <a:pt x="516" y="83"/>
                </a:cubicBezTo>
                <a:cubicBezTo>
                  <a:pt x="605" y="83"/>
                  <a:pt x="605" y="83"/>
                  <a:pt x="605" y="83"/>
                </a:cubicBezTo>
                <a:cubicBezTo>
                  <a:pt x="674" y="83"/>
                  <a:pt x="702" y="120"/>
                  <a:pt x="703" y="165"/>
                </a:cubicBezTo>
                <a:cubicBezTo>
                  <a:pt x="702" y="200"/>
                  <a:pt x="680" y="226"/>
                  <a:pt x="647" y="237"/>
                </a:cubicBezTo>
                <a:close/>
                <a:moveTo>
                  <a:pt x="647" y="165"/>
                </a:moveTo>
                <a:cubicBezTo>
                  <a:pt x="647" y="139"/>
                  <a:pt x="625" y="125"/>
                  <a:pt x="600" y="125"/>
                </a:cubicBezTo>
                <a:cubicBezTo>
                  <a:pt x="569" y="125"/>
                  <a:pt x="569" y="125"/>
                  <a:pt x="569" y="125"/>
                </a:cubicBezTo>
                <a:cubicBezTo>
                  <a:pt x="569" y="209"/>
                  <a:pt x="569" y="209"/>
                  <a:pt x="569" y="209"/>
                </a:cubicBezTo>
                <a:cubicBezTo>
                  <a:pt x="600" y="209"/>
                  <a:pt x="600" y="209"/>
                  <a:pt x="600" y="209"/>
                </a:cubicBezTo>
                <a:cubicBezTo>
                  <a:pt x="616" y="209"/>
                  <a:pt x="647" y="202"/>
                  <a:pt x="647" y="165"/>
                </a:cubicBezTo>
                <a:close/>
              </a:path>
            </a:pathLst>
          </a:custGeom>
          <a:solidFill>
            <a:srgbClr val="F58220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nl-NL"/>
          </a:p>
        </p:txBody>
      </p:sp>
      <p:sp>
        <p:nvSpPr>
          <p:cNvPr id="7" name="Ahead of change"/>
          <p:cNvSpPr>
            <a:spLocks noSelect="1" noChangeAspect="1"/>
          </p:cNvSpPr>
          <p:nvPr userDrawn="1"/>
        </p:nvSpPr>
        <p:spPr bwMode="gray">
          <a:xfrm>
            <a:off x="801954" y="1067589"/>
            <a:ext cx="1657458" cy="216000"/>
          </a:xfrm>
          <a:custGeom>
            <a:avLst/>
            <a:gdLst>
              <a:gd name="T0" fmla="*/ 2256 w 2302"/>
              <a:gd name="T1" fmla="*/ 152 h 301"/>
              <a:gd name="T2" fmla="*/ 2299 w 2302"/>
              <a:gd name="T3" fmla="*/ 177 h 301"/>
              <a:gd name="T4" fmla="*/ 2232 w 2302"/>
              <a:gd name="T5" fmla="*/ 234 h 301"/>
              <a:gd name="T6" fmla="*/ 2232 w 2302"/>
              <a:gd name="T7" fmla="*/ 199 h 301"/>
              <a:gd name="T8" fmla="*/ 2024 w 2302"/>
              <a:gd name="T9" fmla="*/ 164 h 301"/>
              <a:gd name="T10" fmla="*/ 2053 w 2302"/>
              <a:gd name="T11" fmla="*/ 197 h 301"/>
              <a:gd name="T12" fmla="*/ 2125 w 2302"/>
              <a:gd name="T13" fmla="*/ 97 h 301"/>
              <a:gd name="T14" fmla="*/ 2040 w 2302"/>
              <a:gd name="T15" fmla="*/ 94 h 301"/>
              <a:gd name="T16" fmla="*/ 2082 w 2302"/>
              <a:gd name="T17" fmla="*/ 213 h 301"/>
              <a:gd name="T18" fmla="*/ 2011 w 2302"/>
              <a:gd name="T19" fmla="*/ 245 h 301"/>
              <a:gd name="T20" fmla="*/ 1817 w 2302"/>
              <a:gd name="T21" fmla="*/ 231 h 301"/>
              <a:gd name="T22" fmla="*/ 1887 w 2302"/>
              <a:gd name="T23" fmla="*/ 133 h 301"/>
              <a:gd name="T24" fmla="*/ 1952 w 2302"/>
              <a:gd name="T25" fmla="*/ 231 h 301"/>
              <a:gd name="T26" fmla="*/ 1859 w 2302"/>
              <a:gd name="T27" fmla="*/ 119 h 301"/>
              <a:gd name="T28" fmla="*/ 1817 w 2302"/>
              <a:gd name="T29" fmla="*/ 231 h 301"/>
              <a:gd name="T30" fmla="*/ 1714 w 2302"/>
              <a:gd name="T31" fmla="*/ 132 h 301"/>
              <a:gd name="T32" fmla="*/ 1701 w 2302"/>
              <a:gd name="T33" fmla="*/ 234 h 301"/>
              <a:gd name="T34" fmla="*/ 1784 w 2302"/>
              <a:gd name="T35" fmla="*/ 231 h 301"/>
              <a:gd name="T36" fmla="*/ 1742 w 2302"/>
              <a:gd name="T37" fmla="*/ 117 h 301"/>
              <a:gd name="T38" fmla="*/ 1701 w 2302"/>
              <a:gd name="T39" fmla="*/ 234 h 301"/>
              <a:gd name="T40" fmla="*/ 1522 w 2302"/>
              <a:gd name="T41" fmla="*/ 159 h 301"/>
              <a:gd name="T42" fmla="*/ 1571 w 2302"/>
              <a:gd name="T43" fmla="*/ 231 h 301"/>
              <a:gd name="T44" fmla="*/ 1563 w 2302"/>
              <a:gd name="T45" fmla="*/ 94 h 301"/>
              <a:gd name="T46" fmla="*/ 1479 w 2302"/>
              <a:gd name="T47" fmla="*/ 4 h 301"/>
              <a:gd name="T48" fmla="*/ 1453 w 2302"/>
              <a:gd name="T49" fmla="*/ 210 h 301"/>
              <a:gd name="T50" fmla="*/ 1368 w 2302"/>
              <a:gd name="T51" fmla="*/ 164 h 301"/>
              <a:gd name="T52" fmla="*/ 1454 w 2302"/>
              <a:gd name="T53" fmla="*/ 121 h 301"/>
              <a:gd name="T54" fmla="*/ 1397 w 2302"/>
              <a:gd name="T55" fmla="*/ 234 h 301"/>
              <a:gd name="T56" fmla="*/ 1197 w 2302"/>
              <a:gd name="T57" fmla="*/ 132 h 301"/>
              <a:gd name="T58" fmla="*/ 1197 w 2302"/>
              <a:gd name="T59" fmla="*/ 97 h 301"/>
              <a:gd name="T60" fmla="*/ 1222 w 2302"/>
              <a:gd name="T61" fmla="*/ 45 h 301"/>
              <a:gd name="T62" fmla="*/ 1154 w 2302"/>
              <a:gd name="T63" fmla="*/ 52 h 301"/>
              <a:gd name="T64" fmla="*/ 1132 w 2302"/>
              <a:gd name="T65" fmla="*/ 132 h 301"/>
              <a:gd name="T66" fmla="*/ 1040 w 2302"/>
              <a:gd name="T67" fmla="*/ 198 h 301"/>
              <a:gd name="T68" fmla="*/ 1070 w 2302"/>
              <a:gd name="T69" fmla="*/ 164 h 301"/>
              <a:gd name="T70" fmla="*/ 1113 w 2302"/>
              <a:gd name="T71" fmla="*/ 164 h 301"/>
              <a:gd name="T72" fmla="*/ 1040 w 2302"/>
              <a:gd name="T73" fmla="*/ 234 h 301"/>
              <a:gd name="T74" fmla="*/ 796 w 2302"/>
              <a:gd name="T75" fmla="*/ 132 h 301"/>
              <a:gd name="T76" fmla="*/ 784 w 2302"/>
              <a:gd name="T77" fmla="*/ 234 h 301"/>
              <a:gd name="T78" fmla="*/ 867 w 2302"/>
              <a:gd name="T79" fmla="*/ 231 h 301"/>
              <a:gd name="T80" fmla="*/ 825 w 2302"/>
              <a:gd name="T81" fmla="*/ 116 h 301"/>
              <a:gd name="T82" fmla="*/ 784 w 2302"/>
              <a:gd name="T83" fmla="*/ 234 h 301"/>
              <a:gd name="T84" fmla="*/ 624 w 2302"/>
              <a:gd name="T85" fmla="*/ 132 h 301"/>
              <a:gd name="T86" fmla="*/ 611 w 2302"/>
              <a:gd name="T87" fmla="*/ 234 h 301"/>
              <a:gd name="T88" fmla="*/ 694 w 2302"/>
              <a:gd name="T89" fmla="*/ 231 h 301"/>
              <a:gd name="T90" fmla="*/ 652 w 2302"/>
              <a:gd name="T91" fmla="*/ 117 h 301"/>
              <a:gd name="T92" fmla="*/ 611 w 2302"/>
              <a:gd name="T93" fmla="*/ 234 h 301"/>
              <a:gd name="T94" fmla="*/ 484 w 2302"/>
              <a:gd name="T95" fmla="*/ 152 h 301"/>
              <a:gd name="T96" fmla="*/ 527 w 2302"/>
              <a:gd name="T97" fmla="*/ 177 h 301"/>
              <a:gd name="T98" fmla="*/ 460 w 2302"/>
              <a:gd name="T99" fmla="*/ 234 h 301"/>
              <a:gd name="T100" fmla="*/ 460 w 2302"/>
              <a:gd name="T101" fmla="*/ 199 h 301"/>
              <a:gd name="T102" fmla="*/ 262 w 2302"/>
              <a:gd name="T103" fmla="*/ 231 h 301"/>
              <a:gd name="T104" fmla="*/ 311 w 2302"/>
              <a:gd name="T105" fmla="*/ 156 h 301"/>
              <a:gd name="T106" fmla="*/ 354 w 2302"/>
              <a:gd name="T107" fmla="*/ 154 h 301"/>
              <a:gd name="T108" fmla="*/ 262 w 2302"/>
              <a:gd name="T109" fmla="*/ 4 h 301"/>
              <a:gd name="T110" fmla="*/ 68 w 2302"/>
              <a:gd name="T111" fmla="*/ 170 h 301"/>
              <a:gd name="T112" fmla="*/ 109 w 2302"/>
              <a:gd name="T113" fmla="*/ 133 h 301"/>
              <a:gd name="T114" fmla="*/ 0 w 2302"/>
              <a:gd name="T115" fmla="*/ 231 h 301"/>
              <a:gd name="T116" fmla="*/ 140 w 2302"/>
              <a:gd name="T117" fmla="*/ 207 h 301"/>
              <a:gd name="T118" fmla="*/ 98 w 2302"/>
              <a:gd name="T119" fmla="*/ 15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02" h="301">
                <a:moveTo>
                  <a:pt x="2196" y="152"/>
                </a:moveTo>
                <a:cubicBezTo>
                  <a:pt x="2200" y="136"/>
                  <a:pt x="2211" y="129"/>
                  <a:pt x="2228" y="129"/>
                </a:cubicBezTo>
                <a:cubicBezTo>
                  <a:pt x="2245" y="129"/>
                  <a:pt x="2254" y="138"/>
                  <a:pt x="2256" y="152"/>
                </a:cubicBezTo>
                <a:lnTo>
                  <a:pt x="2196" y="152"/>
                </a:lnTo>
                <a:close/>
                <a:moveTo>
                  <a:pt x="2197" y="177"/>
                </a:moveTo>
                <a:cubicBezTo>
                  <a:pt x="2299" y="177"/>
                  <a:pt x="2299" y="177"/>
                  <a:pt x="2299" y="177"/>
                </a:cubicBezTo>
                <a:cubicBezTo>
                  <a:pt x="2302" y="130"/>
                  <a:pt x="2276" y="94"/>
                  <a:pt x="2228" y="94"/>
                </a:cubicBezTo>
                <a:cubicBezTo>
                  <a:pt x="2186" y="94"/>
                  <a:pt x="2153" y="123"/>
                  <a:pt x="2153" y="164"/>
                </a:cubicBezTo>
                <a:cubicBezTo>
                  <a:pt x="2153" y="205"/>
                  <a:pt x="2184" y="234"/>
                  <a:pt x="2232" y="234"/>
                </a:cubicBezTo>
                <a:cubicBezTo>
                  <a:pt x="2260" y="234"/>
                  <a:pt x="2277" y="225"/>
                  <a:pt x="2290" y="214"/>
                </a:cubicBezTo>
                <a:cubicBezTo>
                  <a:pt x="2265" y="188"/>
                  <a:pt x="2265" y="188"/>
                  <a:pt x="2265" y="188"/>
                </a:cubicBezTo>
                <a:cubicBezTo>
                  <a:pt x="2259" y="193"/>
                  <a:pt x="2247" y="199"/>
                  <a:pt x="2232" y="199"/>
                </a:cubicBezTo>
                <a:cubicBezTo>
                  <a:pt x="2212" y="199"/>
                  <a:pt x="2201" y="191"/>
                  <a:pt x="2197" y="177"/>
                </a:cubicBezTo>
                <a:close/>
                <a:moveTo>
                  <a:pt x="2053" y="197"/>
                </a:moveTo>
                <a:cubicBezTo>
                  <a:pt x="2035" y="197"/>
                  <a:pt x="2024" y="185"/>
                  <a:pt x="2024" y="164"/>
                </a:cubicBezTo>
                <a:cubicBezTo>
                  <a:pt x="2024" y="144"/>
                  <a:pt x="2035" y="132"/>
                  <a:pt x="2053" y="132"/>
                </a:cubicBezTo>
                <a:cubicBezTo>
                  <a:pt x="2071" y="132"/>
                  <a:pt x="2083" y="144"/>
                  <a:pt x="2083" y="164"/>
                </a:cubicBezTo>
                <a:cubicBezTo>
                  <a:pt x="2083" y="185"/>
                  <a:pt x="2071" y="197"/>
                  <a:pt x="2053" y="197"/>
                </a:cubicBezTo>
                <a:close/>
                <a:moveTo>
                  <a:pt x="2052" y="301"/>
                </a:moveTo>
                <a:cubicBezTo>
                  <a:pt x="2091" y="301"/>
                  <a:pt x="2125" y="282"/>
                  <a:pt x="2125" y="231"/>
                </a:cubicBezTo>
                <a:cubicBezTo>
                  <a:pt x="2125" y="97"/>
                  <a:pt x="2125" y="97"/>
                  <a:pt x="2125" y="97"/>
                </a:cubicBezTo>
                <a:cubicBezTo>
                  <a:pt x="2082" y="97"/>
                  <a:pt x="2082" y="97"/>
                  <a:pt x="2082" y="97"/>
                </a:cubicBezTo>
                <a:cubicBezTo>
                  <a:pt x="2083" y="118"/>
                  <a:pt x="2083" y="118"/>
                  <a:pt x="2083" y="118"/>
                </a:cubicBezTo>
                <a:cubicBezTo>
                  <a:pt x="2075" y="104"/>
                  <a:pt x="2062" y="94"/>
                  <a:pt x="2040" y="94"/>
                </a:cubicBezTo>
                <a:cubicBezTo>
                  <a:pt x="2008" y="94"/>
                  <a:pt x="1980" y="122"/>
                  <a:pt x="1980" y="164"/>
                </a:cubicBezTo>
                <a:cubicBezTo>
                  <a:pt x="1980" y="205"/>
                  <a:pt x="2008" y="234"/>
                  <a:pt x="2041" y="234"/>
                </a:cubicBezTo>
                <a:cubicBezTo>
                  <a:pt x="2061" y="234"/>
                  <a:pt x="2075" y="225"/>
                  <a:pt x="2082" y="213"/>
                </a:cubicBezTo>
                <a:cubicBezTo>
                  <a:pt x="2082" y="229"/>
                  <a:pt x="2082" y="229"/>
                  <a:pt x="2082" y="229"/>
                </a:cubicBezTo>
                <a:cubicBezTo>
                  <a:pt x="2082" y="254"/>
                  <a:pt x="2070" y="265"/>
                  <a:pt x="2050" y="265"/>
                </a:cubicBezTo>
                <a:cubicBezTo>
                  <a:pt x="2031" y="265"/>
                  <a:pt x="2020" y="256"/>
                  <a:pt x="2011" y="245"/>
                </a:cubicBezTo>
                <a:cubicBezTo>
                  <a:pt x="1981" y="268"/>
                  <a:pt x="1981" y="268"/>
                  <a:pt x="1981" y="268"/>
                </a:cubicBezTo>
                <a:cubicBezTo>
                  <a:pt x="1996" y="288"/>
                  <a:pt x="2017" y="301"/>
                  <a:pt x="2052" y="301"/>
                </a:cubicBezTo>
                <a:close/>
                <a:moveTo>
                  <a:pt x="1817" y="231"/>
                </a:moveTo>
                <a:cubicBezTo>
                  <a:pt x="1860" y="231"/>
                  <a:pt x="1860" y="231"/>
                  <a:pt x="1860" y="231"/>
                </a:cubicBezTo>
                <a:cubicBezTo>
                  <a:pt x="1860" y="159"/>
                  <a:pt x="1860" y="159"/>
                  <a:pt x="1860" y="159"/>
                </a:cubicBezTo>
                <a:cubicBezTo>
                  <a:pt x="1860" y="142"/>
                  <a:pt x="1870" y="133"/>
                  <a:pt x="1887" y="133"/>
                </a:cubicBezTo>
                <a:cubicBezTo>
                  <a:pt x="1902" y="133"/>
                  <a:pt x="1909" y="141"/>
                  <a:pt x="1909" y="156"/>
                </a:cubicBezTo>
                <a:cubicBezTo>
                  <a:pt x="1909" y="231"/>
                  <a:pt x="1909" y="231"/>
                  <a:pt x="1909" y="231"/>
                </a:cubicBezTo>
                <a:cubicBezTo>
                  <a:pt x="1952" y="231"/>
                  <a:pt x="1952" y="231"/>
                  <a:pt x="1952" y="231"/>
                </a:cubicBezTo>
                <a:cubicBezTo>
                  <a:pt x="1952" y="154"/>
                  <a:pt x="1952" y="154"/>
                  <a:pt x="1952" y="154"/>
                </a:cubicBezTo>
                <a:cubicBezTo>
                  <a:pt x="1952" y="115"/>
                  <a:pt x="1931" y="94"/>
                  <a:pt x="1901" y="94"/>
                </a:cubicBezTo>
                <a:cubicBezTo>
                  <a:pt x="1883" y="94"/>
                  <a:pt x="1867" y="103"/>
                  <a:pt x="1859" y="119"/>
                </a:cubicBezTo>
                <a:cubicBezTo>
                  <a:pt x="1860" y="97"/>
                  <a:pt x="1860" y="97"/>
                  <a:pt x="1860" y="97"/>
                </a:cubicBezTo>
                <a:cubicBezTo>
                  <a:pt x="1817" y="97"/>
                  <a:pt x="1817" y="97"/>
                  <a:pt x="1817" y="97"/>
                </a:cubicBezTo>
                <a:lnTo>
                  <a:pt x="1817" y="231"/>
                </a:lnTo>
                <a:close/>
                <a:moveTo>
                  <a:pt x="1714" y="197"/>
                </a:moveTo>
                <a:cubicBezTo>
                  <a:pt x="1696" y="197"/>
                  <a:pt x="1686" y="184"/>
                  <a:pt x="1686" y="164"/>
                </a:cubicBezTo>
                <a:cubicBezTo>
                  <a:pt x="1686" y="144"/>
                  <a:pt x="1696" y="132"/>
                  <a:pt x="1714" y="132"/>
                </a:cubicBezTo>
                <a:cubicBezTo>
                  <a:pt x="1732" y="132"/>
                  <a:pt x="1742" y="144"/>
                  <a:pt x="1742" y="164"/>
                </a:cubicBezTo>
                <a:cubicBezTo>
                  <a:pt x="1742" y="184"/>
                  <a:pt x="1732" y="197"/>
                  <a:pt x="1714" y="197"/>
                </a:cubicBezTo>
                <a:close/>
                <a:moveTo>
                  <a:pt x="1701" y="234"/>
                </a:moveTo>
                <a:cubicBezTo>
                  <a:pt x="1721" y="234"/>
                  <a:pt x="1735" y="224"/>
                  <a:pt x="1742" y="211"/>
                </a:cubicBezTo>
                <a:cubicBezTo>
                  <a:pt x="1742" y="231"/>
                  <a:pt x="1742" y="231"/>
                  <a:pt x="1742" y="231"/>
                </a:cubicBezTo>
                <a:cubicBezTo>
                  <a:pt x="1784" y="231"/>
                  <a:pt x="1784" y="231"/>
                  <a:pt x="1784" y="231"/>
                </a:cubicBezTo>
                <a:cubicBezTo>
                  <a:pt x="1784" y="97"/>
                  <a:pt x="1784" y="97"/>
                  <a:pt x="1784" y="97"/>
                </a:cubicBezTo>
                <a:cubicBezTo>
                  <a:pt x="1742" y="97"/>
                  <a:pt x="1742" y="97"/>
                  <a:pt x="1742" y="97"/>
                </a:cubicBezTo>
                <a:cubicBezTo>
                  <a:pt x="1742" y="117"/>
                  <a:pt x="1742" y="117"/>
                  <a:pt x="1742" y="117"/>
                </a:cubicBezTo>
                <a:cubicBezTo>
                  <a:pt x="1735" y="103"/>
                  <a:pt x="1722" y="94"/>
                  <a:pt x="1701" y="94"/>
                </a:cubicBezTo>
                <a:cubicBezTo>
                  <a:pt x="1668" y="94"/>
                  <a:pt x="1642" y="123"/>
                  <a:pt x="1642" y="164"/>
                </a:cubicBezTo>
                <a:cubicBezTo>
                  <a:pt x="1642" y="205"/>
                  <a:pt x="1669" y="234"/>
                  <a:pt x="1701" y="234"/>
                </a:cubicBezTo>
                <a:close/>
                <a:moveTo>
                  <a:pt x="1479" y="231"/>
                </a:moveTo>
                <a:cubicBezTo>
                  <a:pt x="1522" y="231"/>
                  <a:pt x="1522" y="231"/>
                  <a:pt x="1522" y="231"/>
                </a:cubicBezTo>
                <a:cubicBezTo>
                  <a:pt x="1522" y="159"/>
                  <a:pt x="1522" y="159"/>
                  <a:pt x="1522" y="159"/>
                </a:cubicBezTo>
                <a:cubicBezTo>
                  <a:pt x="1522" y="142"/>
                  <a:pt x="1532" y="133"/>
                  <a:pt x="1549" y="133"/>
                </a:cubicBezTo>
                <a:cubicBezTo>
                  <a:pt x="1564" y="133"/>
                  <a:pt x="1571" y="141"/>
                  <a:pt x="1571" y="156"/>
                </a:cubicBezTo>
                <a:cubicBezTo>
                  <a:pt x="1571" y="231"/>
                  <a:pt x="1571" y="231"/>
                  <a:pt x="1571" y="231"/>
                </a:cubicBezTo>
                <a:cubicBezTo>
                  <a:pt x="1614" y="231"/>
                  <a:pt x="1614" y="231"/>
                  <a:pt x="1614" y="231"/>
                </a:cubicBezTo>
                <a:cubicBezTo>
                  <a:pt x="1614" y="154"/>
                  <a:pt x="1614" y="154"/>
                  <a:pt x="1614" y="154"/>
                </a:cubicBezTo>
                <a:cubicBezTo>
                  <a:pt x="1614" y="115"/>
                  <a:pt x="1592" y="94"/>
                  <a:pt x="1563" y="94"/>
                </a:cubicBezTo>
                <a:cubicBezTo>
                  <a:pt x="1545" y="94"/>
                  <a:pt x="1530" y="103"/>
                  <a:pt x="1522" y="118"/>
                </a:cubicBezTo>
                <a:cubicBezTo>
                  <a:pt x="1522" y="4"/>
                  <a:pt x="1522" y="4"/>
                  <a:pt x="1522" y="4"/>
                </a:cubicBezTo>
                <a:cubicBezTo>
                  <a:pt x="1479" y="4"/>
                  <a:pt x="1479" y="4"/>
                  <a:pt x="1479" y="4"/>
                </a:cubicBezTo>
                <a:lnTo>
                  <a:pt x="1479" y="231"/>
                </a:lnTo>
                <a:close/>
                <a:moveTo>
                  <a:pt x="1397" y="234"/>
                </a:moveTo>
                <a:cubicBezTo>
                  <a:pt x="1424" y="234"/>
                  <a:pt x="1440" y="224"/>
                  <a:pt x="1453" y="210"/>
                </a:cubicBezTo>
                <a:cubicBezTo>
                  <a:pt x="1425" y="184"/>
                  <a:pt x="1425" y="184"/>
                  <a:pt x="1425" y="184"/>
                </a:cubicBezTo>
                <a:cubicBezTo>
                  <a:pt x="1418" y="191"/>
                  <a:pt x="1411" y="197"/>
                  <a:pt x="1397" y="197"/>
                </a:cubicBezTo>
                <a:cubicBezTo>
                  <a:pt x="1378" y="197"/>
                  <a:pt x="1368" y="183"/>
                  <a:pt x="1368" y="164"/>
                </a:cubicBezTo>
                <a:cubicBezTo>
                  <a:pt x="1368" y="145"/>
                  <a:pt x="1378" y="131"/>
                  <a:pt x="1397" y="131"/>
                </a:cubicBezTo>
                <a:cubicBezTo>
                  <a:pt x="1408" y="131"/>
                  <a:pt x="1419" y="137"/>
                  <a:pt x="1424" y="145"/>
                </a:cubicBezTo>
                <a:cubicBezTo>
                  <a:pt x="1454" y="121"/>
                  <a:pt x="1454" y="121"/>
                  <a:pt x="1454" y="121"/>
                </a:cubicBezTo>
                <a:cubicBezTo>
                  <a:pt x="1440" y="104"/>
                  <a:pt x="1424" y="94"/>
                  <a:pt x="1397" y="94"/>
                </a:cubicBezTo>
                <a:cubicBezTo>
                  <a:pt x="1356" y="94"/>
                  <a:pt x="1324" y="123"/>
                  <a:pt x="1324" y="164"/>
                </a:cubicBezTo>
                <a:cubicBezTo>
                  <a:pt x="1324" y="205"/>
                  <a:pt x="1356" y="234"/>
                  <a:pt x="1397" y="234"/>
                </a:cubicBezTo>
                <a:close/>
                <a:moveTo>
                  <a:pt x="1154" y="231"/>
                </a:moveTo>
                <a:cubicBezTo>
                  <a:pt x="1197" y="231"/>
                  <a:pt x="1197" y="231"/>
                  <a:pt x="1197" y="231"/>
                </a:cubicBezTo>
                <a:cubicBezTo>
                  <a:pt x="1197" y="132"/>
                  <a:pt x="1197" y="132"/>
                  <a:pt x="1197" y="132"/>
                </a:cubicBezTo>
                <a:cubicBezTo>
                  <a:pt x="1233" y="132"/>
                  <a:pt x="1233" y="132"/>
                  <a:pt x="1233" y="132"/>
                </a:cubicBezTo>
                <a:cubicBezTo>
                  <a:pt x="1233" y="97"/>
                  <a:pt x="1233" y="97"/>
                  <a:pt x="1233" y="97"/>
                </a:cubicBezTo>
                <a:cubicBezTo>
                  <a:pt x="1197" y="97"/>
                  <a:pt x="1197" y="97"/>
                  <a:pt x="1197" y="97"/>
                </a:cubicBezTo>
                <a:cubicBezTo>
                  <a:pt x="1197" y="51"/>
                  <a:pt x="1197" y="51"/>
                  <a:pt x="1197" y="51"/>
                </a:cubicBezTo>
                <a:cubicBezTo>
                  <a:pt x="1197" y="41"/>
                  <a:pt x="1202" y="38"/>
                  <a:pt x="1208" y="38"/>
                </a:cubicBezTo>
                <a:cubicBezTo>
                  <a:pt x="1215" y="38"/>
                  <a:pt x="1219" y="41"/>
                  <a:pt x="1222" y="45"/>
                </a:cubicBezTo>
                <a:cubicBezTo>
                  <a:pt x="1245" y="17"/>
                  <a:pt x="1245" y="17"/>
                  <a:pt x="1245" y="17"/>
                </a:cubicBezTo>
                <a:cubicBezTo>
                  <a:pt x="1235" y="5"/>
                  <a:pt x="1223" y="0"/>
                  <a:pt x="1204" y="0"/>
                </a:cubicBezTo>
                <a:cubicBezTo>
                  <a:pt x="1171" y="0"/>
                  <a:pt x="1154" y="17"/>
                  <a:pt x="1154" y="52"/>
                </a:cubicBezTo>
                <a:cubicBezTo>
                  <a:pt x="1154" y="97"/>
                  <a:pt x="1154" y="97"/>
                  <a:pt x="1154" y="97"/>
                </a:cubicBezTo>
                <a:cubicBezTo>
                  <a:pt x="1132" y="97"/>
                  <a:pt x="1132" y="97"/>
                  <a:pt x="1132" y="97"/>
                </a:cubicBezTo>
                <a:cubicBezTo>
                  <a:pt x="1132" y="132"/>
                  <a:pt x="1132" y="132"/>
                  <a:pt x="1132" y="132"/>
                </a:cubicBezTo>
                <a:cubicBezTo>
                  <a:pt x="1154" y="132"/>
                  <a:pt x="1154" y="132"/>
                  <a:pt x="1154" y="132"/>
                </a:cubicBezTo>
                <a:lnTo>
                  <a:pt x="1154" y="231"/>
                </a:lnTo>
                <a:close/>
                <a:moveTo>
                  <a:pt x="1040" y="198"/>
                </a:moveTo>
                <a:cubicBezTo>
                  <a:pt x="1021" y="198"/>
                  <a:pt x="1009" y="184"/>
                  <a:pt x="1009" y="164"/>
                </a:cubicBezTo>
                <a:cubicBezTo>
                  <a:pt x="1009" y="144"/>
                  <a:pt x="1021" y="131"/>
                  <a:pt x="1040" y="131"/>
                </a:cubicBezTo>
                <a:cubicBezTo>
                  <a:pt x="1059" y="131"/>
                  <a:pt x="1070" y="144"/>
                  <a:pt x="1070" y="164"/>
                </a:cubicBezTo>
                <a:cubicBezTo>
                  <a:pt x="1070" y="184"/>
                  <a:pt x="1059" y="198"/>
                  <a:pt x="1040" y="198"/>
                </a:cubicBezTo>
                <a:close/>
                <a:moveTo>
                  <a:pt x="1040" y="234"/>
                </a:moveTo>
                <a:cubicBezTo>
                  <a:pt x="1081" y="234"/>
                  <a:pt x="1113" y="205"/>
                  <a:pt x="1113" y="164"/>
                </a:cubicBezTo>
                <a:cubicBezTo>
                  <a:pt x="1113" y="123"/>
                  <a:pt x="1081" y="94"/>
                  <a:pt x="1040" y="94"/>
                </a:cubicBezTo>
                <a:cubicBezTo>
                  <a:pt x="998" y="94"/>
                  <a:pt x="966" y="123"/>
                  <a:pt x="966" y="164"/>
                </a:cubicBezTo>
                <a:cubicBezTo>
                  <a:pt x="966" y="205"/>
                  <a:pt x="998" y="234"/>
                  <a:pt x="1040" y="234"/>
                </a:cubicBezTo>
                <a:close/>
                <a:moveTo>
                  <a:pt x="796" y="197"/>
                </a:moveTo>
                <a:cubicBezTo>
                  <a:pt x="778" y="197"/>
                  <a:pt x="767" y="185"/>
                  <a:pt x="767" y="164"/>
                </a:cubicBezTo>
                <a:cubicBezTo>
                  <a:pt x="767" y="144"/>
                  <a:pt x="778" y="132"/>
                  <a:pt x="796" y="132"/>
                </a:cubicBezTo>
                <a:cubicBezTo>
                  <a:pt x="814" y="132"/>
                  <a:pt x="826" y="144"/>
                  <a:pt x="826" y="164"/>
                </a:cubicBezTo>
                <a:cubicBezTo>
                  <a:pt x="826" y="185"/>
                  <a:pt x="814" y="197"/>
                  <a:pt x="796" y="197"/>
                </a:cubicBezTo>
                <a:close/>
                <a:moveTo>
                  <a:pt x="784" y="234"/>
                </a:moveTo>
                <a:cubicBezTo>
                  <a:pt x="804" y="234"/>
                  <a:pt x="818" y="226"/>
                  <a:pt x="826" y="212"/>
                </a:cubicBezTo>
                <a:cubicBezTo>
                  <a:pt x="825" y="231"/>
                  <a:pt x="825" y="231"/>
                  <a:pt x="825" y="231"/>
                </a:cubicBezTo>
                <a:cubicBezTo>
                  <a:pt x="867" y="231"/>
                  <a:pt x="867" y="231"/>
                  <a:pt x="867" y="231"/>
                </a:cubicBezTo>
                <a:cubicBezTo>
                  <a:pt x="867" y="4"/>
                  <a:pt x="867" y="4"/>
                  <a:pt x="867" y="4"/>
                </a:cubicBezTo>
                <a:cubicBezTo>
                  <a:pt x="825" y="4"/>
                  <a:pt x="825" y="4"/>
                  <a:pt x="825" y="4"/>
                </a:cubicBezTo>
                <a:cubicBezTo>
                  <a:pt x="825" y="116"/>
                  <a:pt x="825" y="116"/>
                  <a:pt x="825" y="116"/>
                </a:cubicBezTo>
                <a:cubicBezTo>
                  <a:pt x="816" y="103"/>
                  <a:pt x="804" y="94"/>
                  <a:pt x="783" y="94"/>
                </a:cubicBezTo>
                <a:cubicBezTo>
                  <a:pt x="751" y="94"/>
                  <a:pt x="723" y="122"/>
                  <a:pt x="723" y="164"/>
                </a:cubicBezTo>
                <a:cubicBezTo>
                  <a:pt x="723" y="205"/>
                  <a:pt x="751" y="234"/>
                  <a:pt x="784" y="234"/>
                </a:cubicBezTo>
                <a:close/>
                <a:moveTo>
                  <a:pt x="624" y="197"/>
                </a:moveTo>
                <a:cubicBezTo>
                  <a:pt x="606" y="197"/>
                  <a:pt x="596" y="184"/>
                  <a:pt x="596" y="164"/>
                </a:cubicBezTo>
                <a:cubicBezTo>
                  <a:pt x="596" y="144"/>
                  <a:pt x="606" y="132"/>
                  <a:pt x="624" y="132"/>
                </a:cubicBezTo>
                <a:cubicBezTo>
                  <a:pt x="642" y="132"/>
                  <a:pt x="652" y="144"/>
                  <a:pt x="652" y="164"/>
                </a:cubicBezTo>
                <a:cubicBezTo>
                  <a:pt x="652" y="184"/>
                  <a:pt x="642" y="197"/>
                  <a:pt x="624" y="197"/>
                </a:cubicBezTo>
                <a:close/>
                <a:moveTo>
                  <a:pt x="611" y="234"/>
                </a:moveTo>
                <a:cubicBezTo>
                  <a:pt x="631" y="234"/>
                  <a:pt x="645" y="224"/>
                  <a:pt x="652" y="211"/>
                </a:cubicBezTo>
                <a:cubicBezTo>
                  <a:pt x="652" y="231"/>
                  <a:pt x="652" y="231"/>
                  <a:pt x="652" y="231"/>
                </a:cubicBezTo>
                <a:cubicBezTo>
                  <a:pt x="694" y="231"/>
                  <a:pt x="694" y="231"/>
                  <a:pt x="694" y="231"/>
                </a:cubicBezTo>
                <a:cubicBezTo>
                  <a:pt x="694" y="97"/>
                  <a:pt x="694" y="97"/>
                  <a:pt x="694" y="97"/>
                </a:cubicBezTo>
                <a:cubicBezTo>
                  <a:pt x="652" y="97"/>
                  <a:pt x="652" y="97"/>
                  <a:pt x="652" y="97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45" y="103"/>
                  <a:pt x="631" y="94"/>
                  <a:pt x="611" y="94"/>
                </a:cubicBezTo>
                <a:cubicBezTo>
                  <a:pt x="578" y="94"/>
                  <a:pt x="551" y="123"/>
                  <a:pt x="551" y="164"/>
                </a:cubicBezTo>
                <a:cubicBezTo>
                  <a:pt x="551" y="205"/>
                  <a:pt x="579" y="234"/>
                  <a:pt x="611" y="234"/>
                </a:cubicBezTo>
                <a:close/>
                <a:moveTo>
                  <a:pt x="424" y="152"/>
                </a:moveTo>
                <a:cubicBezTo>
                  <a:pt x="428" y="136"/>
                  <a:pt x="439" y="129"/>
                  <a:pt x="456" y="129"/>
                </a:cubicBezTo>
                <a:cubicBezTo>
                  <a:pt x="473" y="129"/>
                  <a:pt x="482" y="138"/>
                  <a:pt x="484" y="152"/>
                </a:cubicBezTo>
                <a:lnTo>
                  <a:pt x="424" y="152"/>
                </a:lnTo>
                <a:close/>
                <a:moveTo>
                  <a:pt x="425" y="177"/>
                </a:moveTo>
                <a:cubicBezTo>
                  <a:pt x="527" y="177"/>
                  <a:pt x="527" y="177"/>
                  <a:pt x="527" y="177"/>
                </a:cubicBezTo>
                <a:cubicBezTo>
                  <a:pt x="530" y="130"/>
                  <a:pt x="504" y="94"/>
                  <a:pt x="456" y="94"/>
                </a:cubicBezTo>
                <a:cubicBezTo>
                  <a:pt x="414" y="94"/>
                  <a:pt x="382" y="123"/>
                  <a:pt x="382" y="164"/>
                </a:cubicBezTo>
                <a:cubicBezTo>
                  <a:pt x="382" y="205"/>
                  <a:pt x="413" y="234"/>
                  <a:pt x="460" y="234"/>
                </a:cubicBezTo>
                <a:cubicBezTo>
                  <a:pt x="488" y="234"/>
                  <a:pt x="505" y="225"/>
                  <a:pt x="518" y="214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87" y="193"/>
                  <a:pt x="475" y="199"/>
                  <a:pt x="460" y="199"/>
                </a:cubicBezTo>
                <a:cubicBezTo>
                  <a:pt x="441" y="199"/>
                  <a:pt x="429" y="191"/>
                  <a:pt x="425" y="177"/>
                </a:cubicBezTo>
                <a:close/>
                <a:moveTo>
                  <a:pt x="219" y="231"/>
                </a:moveTo>
                <a:cubicBezTo>
                  <a:pt x="262" y="231"/>
                  <a:pt x="262" y="231"/>
                  <a:pt x="262" y="231"/>
                </a:cubicBezTo>
                <a:cubicBezTo>
                  <a:pt x="262" y="159"/>
                  <a:pt x="262" y="159"/>
                  <a:pt x="262" y="159"/>
                </a:cubicBezTo>
                <a:cubicBezTo>
                  <a:pt x="262" y="142"/>
                  <a:pt x="272" y="133"/>
                  <a:pt x="289" y="133"/>
                </a:cubicBezTo>
                <a:cubicBezTo>
                  <a:pt x="304" y="133"/>
                  <a:pt x="311" y="141"/>
                  <a:pt x="311" y="156"/>
                </a:cubicBezTo>
                <a:cubicBezTo>
                  <a:pt x="311" y="231"/>
                  <a:pt x="311" y="231"/>
                  <a:pt x="311" y="231"/>
                </a:cubicBezTo>
                <a:cubicBezTo>
                  <a:pt x="354" y="231"/>
                  <a:pt x="354" y="231"/>
                  <a:pt x="354" y="231"/>
                </a:cubicBezTo>
                <a:cubicBezTo>
                  <a:pt x="354" y="154"/>
                  <a:pt x="354" y="154"/>
                  <a:pt x="354" y="154"/>
                </a:cubicBezTo>
                <a:cubicBezTo>
                  <a:pt x="354" y="115"/>
                  <a:pt x="333" y="94"/>
                  <a:pt x="304" y="94"/>
                </a:cubicBezTo>
                <a:cubicBezTo>
                  <a:pt x="285" y="94"/>
                  <a:pt x="270" y="103"/>
                  <a:pt x="262" y="118"/>
                </a:cubicBezTo>
                <a:cubicBezTo>
                  <a:pt x="262" y="4"/>
                  <a:pt x="262" y="4"/>
                  <a:pt x="262" y="4"/>
                </a:cubicBezTo>
                <a:cubicBezTo>
                  <a:pt x="219" y="4"/>
                  <a:pt x="219" y="4"/>
                  <a:pt x="219" y="4"/>
                </a:cubicBezTo>
                <a:lnTo>
                  <a:pt x="219" y="231"/>
                </a:lnTo>
                <a:close/>
                <a:moveTo>
                  <a:pt x="68" y="170"/>
                </a:moveTo>
                <a:cubicBezTo>
                  <a:pt x="83" y="133"/>
                  <a:pt x="83" y="133"/>
                  <a:pt x="83" y="133"/>
                </a:cubicBezTo>
                <a:cubicBezTo>
                  <a:pt x="89" y="118"/>
                  <a:pt x="96" y="94"/>
                  <a:pt x="96" y="94"/>
                </a:cubicBezTo>
                <a:cubicBezTo>
                  <a:pt x="96" y="94"/>
                  <a:pt x="102" y="118"/>
                  <a:pt x="109" y="133"/>
                </a:cubicBezTo>
                <a:cubicBezTo>
                  <a:pt x="124" y="170"/>
                  <a:pt x="124" y="170"/>
                  <a:pt x="124" y="170"/>
                </a:cubicBezTo>
                <a:lnTo>
                  <a:pt x="68" y="170"/>
                </a:lnTo>
                <a:close/>
                <a:moveTo>
                  <a:pt x="0" y="231"/>
                </a:moveTo>
                <a:cubicBezTo>
                  <a:pt x="43" y="231"/>
                  <a:pt x="43" y="231"/>
                  <a:pt x="43" y="231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140" y="207"/>
                  <a:pt x="140" y="207"/>
                  <a:pt x="140" y="207"/>
                </a:cubicBezTo>
                <a:cubicBezTo>
                  <a:pt x="150" y="231"/>
                  <a:pt x="150" y="231"/>
                  <a:pt x="150" y="231"/>
                </a:cubicBezTo>
                <a:cubicBezTo>
                  <a:pt x="196" y="231"/>
                  <a:pt x="196" y="231"/>
                  <a:pt x="196" y="231"/>
                </a:cubicBezTo>
                <a:cubicBezTo>
                  <a:pt x="98" y="15"/>
                  <a:pt x="98" y="15"/>
                  <a:pt x="98" y="15"/>
                </a:cubicBezTo>
                <a:cubicBezTo>
                  <a:pt x="94" y="15"/>
                  <a:pt x="94" y="15"/>
                  <a:pt x="94" y="15"/>
                </a:cubicBezTo>
                <a:lnTo>
                  <a:pt x="0" y="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492673-C640-3D4E-AC38-0DE4198B4A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76120" y="4797152"/>
            <a:ext cx="3362325" cy="644278"/>
          </a:xfrm>
        </p:spPr>
        <p:txBody>
          <a:bodyPr/>
          <a:lstStyle>
            <a:lvl1pPr marL="0" marR="0" indent="0" algn="l" defTabSz="108861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pPr marL="0" indent="0">
              <a:buNone/>
            </a:pPr>
            <a:r>
              <a:rPr lang="en-US" b="1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NAAM (NEEM CONTACT OP MET)</a:t>
            </a:r>
            <a:endParaRPr lang="nl-NZ" b="1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  <a:p>
            <a:pPr marL="0" indent="0">
              <a:buNone/>
            </a:pPr>
            <a:r>
              <a:rPr lang="en-US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FUNCTI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2E9F97-F600-DD49-BB60-C8FBE5F3E4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6120" y="5748949"/>
            <a:ext cx="3432175" cy="75678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  +31 (0)30 663 7000</a:t>
            </a:r>
          </a:p>
          <a:p>
            <a:pPr lvl="0"/>
            <a:r>
              <a:rPr lang="en-GB"/>
              <a:t>E. ……….@</a:t>
            </a:r>
            <a:r>
              <a:rPr lang="en-GB" err="1"/>
              <a:t>ordina.n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9646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7212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1157734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2671162"/>
            <a:ext cx="10806722" cy="3383648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51629047"/>
      </p:ext>
    </p:extLst>
  </p:cSld>
  <p:clrMapOvr>
    <a:masterClrMapping/>
  </p:clrMapOvr>
  <p:transition>
    <p:wipe dir="d"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7"/>
          <p:cNvSpPr>
            <a:spLocks noGrp="1" noSelect="1"/>
          </p:cNvSpPr>
          <p:nvPr>
            <p:ph type="pic" sz="quarter" idx="14" hasCustomPrompt="1"/>
          </p:nvPr>
        </p:nvSpPr>
        <p:spPr bwMode="gray">
          <a:xfrm>
            <a:off x="0" y="0"/>
            <a:ext cx="12193200" cy="6858000"/>
          </a:xfrm>
        </p:spPr>
        <p:txBody>
          <a:bodyPr/>
          <a:lstStyle>
            <a:lvl1pPr marL="0" indent="0">
              <a:buNone/>
              <a:defRPr baseline="0">
                <a:sym typeface="Wingdings" panose="05000000000000000000" pitchFamily="2" charset="2"/>
              </a:defRPr>
            </a:lvl1pPr>
          </a:lstStyle>
          <a:p>
            <a:r>
              <a:rPr lang="nl-NL"/>
              <a:t>[Afbeelding toevoegen: Via Invoegen Afbeelding]</a:t>
            </a:r>
          </a:p>
        </p:txBody>
      </p:sp>
      <p:sp>
        <p:nvSpPr>
          <p:cNvPr id="5" name="Logo achtergrond (PHJU)"/>
          <p:cNvSpPr>
            <a:spLocks noGrp="1" noSelect="1"/>
          </p:cNvSpPr>
          <p:nvPr userDrawn="1">
            <p:ph type="body" idx="1002" hasCustomPrompt="1"/>
            <p:custDataLst>
              <p:custData r:id="rId1"/>
            </p:custDataLst>
          </p:nvPr>
        </p:nvSpPr>
        <p:spPr bwMode="gray">
          <a:xfrm>
            <a:off x="-12815" y="6106308"/>
            <a:ext cx="1386154" cy="305949"/>
          </a:xfrm>
          <a:custGeom>
            <a:avLst/>
            <a:gdLst>
              <a:gd name="T0" fmla="*/ 172 w 1255"/>
              <a:gd name="T1" fmla="*/ 56 h 277"/>
              <a:gd name="T2" fmla="*/ 0 w 1255"/>
              <a:gd name="T3" fmla="*/ 56 h 277"/>
              <a:gd name="T4" fmla="*/ 0 w 1255"/>
              <a:gd name="T5" fmla="*/ 221 h 277"/>
              <a:gd name="T6" fmla="*/ 176 w 1255"/>
              <a:gd name="T7" fmla="*/ 221 h 277"/>
              <a:gd name="T8" fmla="*/ 196 w 1255"/>
              <a:gd name="T9" fmla="*/ 277 h 277"/>
              <a:gd name="T10" fmla="*/ 350 w 1255"/>
              <a:gd name="T11" fmla="*/ 221 h 277"/>
              <a:gd name="T12" fmla="*/ 1255 w 1255"/>
              <a:gd name="T13" fmla="*/ 221 h 277"/>
              <a:gd name="T14" fmla="*/ 1255 w 1255"/>
              <a:gd name="T15" fmla="*/ 56 h 277"/>
              <a:gd name="T16" fmla="*/ 346 w 1255"/>
              <a:gd name="T17" fmla="*/ 56 h 277"/>
              <a:gd name="T18" fmla="*/ 326 w 1255"/>
              <a:gd name="T19" fmla="*/ 0 h 277"/>
              <a:gd name="T20" fmla="*/ 172 w 1255"/>
              <a:gd name="T21" fmla="*/ 5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5" h="277">
                <a:moveTo>
                  <a:pt x="172" y="56"/>
                </a:moveTo>
                <a:lnTo>
                  <a:pt x="0" y="56"/>
                </a:lnTo>
                <a:lnTo>
                  <a:pt x="0" y="221"/>
                </a:lnTo>
                <a:lnTo>
                  <a:pt x="176" y="221"/>
                </a:lnTo>
                <a:lnTo>
                  <a:pt x="196" y="277"/>
                </a:lnTo>
                <a:lnTo>
                  <a:pt x="350" y="221"/>
                </a:lnTo>
                <a:lnTo>
                  <a:pt x="1255" y="221"/>
                </a:lnTo>
                <a:lnTo>
                  <a:pt x="1255" y="56"/>
                </a:lnTo>
                <a:lnTo>
                  <a:pt x="346" y="56"/>
                </a:lnTo>
                <a:lnTo>
                  <a:pt x="326" y="0"/>
                </a:lnTo>
                <a:lnTo>
                  <a:pt x="172" y="56"/>
                </a:lnTo>
                <a:close/>
              </a:path>
            </a:pathLst>
          </a:custGeom>
          <a:solidFill>
            <a:srgbClr val="F58220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7" name="Logo tekst (PHJU)"/>
          <p:cNvSpPr>
            <a:spLocks noGrp="1" noSelect="1"/>
          </p:cNvSpPr>
          <p:nvPr userDrawn="1">
            <p:ph type="body" idx="1001" hasCustomPrompt="1"/>
            <p:custDataLst>
              <p:custData r:id="rId2"/>
            </p:custDataLst>
          </p:nvPr>
        </p:nvSpPr>
        <p:spPr bwMode="gray">
          <a:xfrm>
            <a:off x="166115" y="6136130"/>
            <a:ext cx="1065847" cy="236365"/>
          </a:xfrm>
          <a:custGeom>
            <a:avLst/>
            <a:gdLst>
              <a:gd name="T0" fmla="*/ 12 w 1930"/>
              <a:gd name="T1" fmla="*/ 292 h 428"/>
              <a:gd name="T2" fmla="*/ 1064 w 1930"/>
              <a:gd name="T3" fmla="*/ 223 h 428"/>
              <a:gd name="T4" fmla="*/ 821 w 1930"/>
              <a:gd name="T5" fmla="*/ 366 h 428"/>
              <a:gd name="T6" fmla="*/ 916 w 1930"/>
              <a:gd name="T7" fmla="*/ 83 h 428"/>
              <a:gd name="T8" fmla="*/ 1011 w 1930"/>
              <a:gd name="T9" fmla="*/ 220 h 428"/>
              <a:gd name="T10" fmla="*/ 874 w 1930"/>
              <a:gd name="T11" fmla="*/ 128 h 428"/>
              <a:gd name="T12" fmla="*/ 907 w 1930"/>
              <a:gd name="T13" fmla="*/ 321 h 428"/>
              <a:gd name="T14" fmla="*/ 1170 w 1930"/>
              <a:gd name="T15" fmla="*/ 366 h 428"/>
              <a:gd name="T16" fmla="*/ 1226 w 1930"/>
              <a:gd name="T17" fmla="*/ 83 h 428"/>
              <a:gd name="T18" fmla="*/ 1170 w 1930"/>
              <a:gd name="T19" fmla="*/ 366 h 428"/>
              <a:gd name="T20" fmla="*/ 1394 w 1930"/>
              <a:gd name="T21" fmla="*/ 75 h 428"/>
              <a:gd name="T22" fmla="*/ 1343 w 1930"/>
              <a:gd name="T23" fmla="*/ 366 h 428"/>
              <a:gd name="T24" fmla="*/ 1391 w 1930"/>
              <a:gd name="T25" fmla="*/ 156 h 428"/>
              <a:gd name="T26" fmla="*/ 1522 w 1930"/>
              <a:gd name="T27" fmla="*/ 371 h 428"/>
              <a:gd name="T28" fmla="*/ 1578 w 1930"/>
              <a:gd name="T29" fmla="*/ 83 h 428"/>
              <a:gd name="T30" fmla="*/ 1528 w 1930"/>
              <a:gd name="T31" fmla="*/ 293 h 428"/>
              <a:gd name="T32" fmla="*/ 1880 w 1930"/>
              <a:gd name="T33" fmla="*/ 371 h 428"/>
              <a:gd name="T34" fmla="*/ 1754 w 1930"/>
              <a:gd name="T35" fmla="*/ 290 h 428"/>
              <a:gd name="T36" fmla="*/ 1673 w 1930"/>
              <a:gd name="T37" fmla="*/ 355 h 428"/>
              <a:gd name="T38" fmla="*/ 1830 w 1930"/>
              <a:gd name="T39" fmla="*/ 83 h 428"/>
              <a:gd name="T40" fmla="*/ 1838 w 1930"/>
              <a:gd name="T41" fmla="*/ 248 h 428"/>
              <a:gd name="T42" fmla="*/ 1768 w 1930"/>
              <a:gd name="T43" fmla="*/ 248 h 428"/>
              <a:gd name="T44" fmla="*/ 13 w 1930"/>
              <a:gd name="T45" fmla="*/ 292 h 428"/>
              <a:gd name="T46" fmla="*/ 13 w 1930"/>
              <a:gd name="T47" fmla="*/ 292 h 428"/>
              <a:gd name="T48" fmla="*/ 378 w 1930"/>
              <a:gd name="T49" fmla="*/ 308 h 428"/>
              <a:gd name="T50" fmla="*/ 114 w 1930"/>
              <a:gd name="T51" fmla="*/ 403 h 428"/>
              <a:gd name="T52" fmla="*/ 0 w 1930"/>
              <a:gd name="T53" fmla="*/ 223 h 428"/>
              <a:gd name="T54" fmla="*/ 131 w 1930"/>
              <a:gd name="T55" fmla="*/ 36 h 428"/>
              <a:gd name="T56" fmla="*/ 329 w 1930"/>
              <a:gd name="T57" fmla="*/ 174 h 428"/>
              <a:gd name="T58" fmla="*/ 72 w 1930"/>
              <a:gd name="T59" fmla="*/ 165 h 428"/>
              <a:gd name="T60" fmla="*/ 68 w 1930"/>
              <a:gd name="T61" fmla="*/ 272 h 428"/>
              <a:gd name="T62" fmla="*/ 246 w 1930"/>
              <a:gd name="T63" fmla="*/ 355 h 428"/>
              <a:gd name="T64" fmla="*/ 329 w 1930"/>
              <a:gd name="T65" fmla="*/ 174 h 428"/>
              <a:gd name="T66" fmla="*/ 734 w 1930"/>
              <a:gd name="T67" fmla="*/ 352 h 428"/>
              <a:gd name="T68" fmla="*/ 602 w 1930"/>
              <a:gd name="T69" fmla="*/ 262 h 428"/>
              <a:gd name="T70" fmla="*/ 566 w 1930"/>
              <a:gd name="T71" fmla="*/ 251 h 428"/>
              <a:gd name="T72" fmla="*/ 513 w 1930"/>
              <a:gd name="T73" fmla="*/ 366 h 428"/>
              <a:gd name="T74" fmla="*/ 605 w 1930"/>
              <a:gd name="T75" fmla="*/ 83 h 428"/>
              <a:gd name="T76" fmla="*/ 647 w 1930"/>
              <a:gd name="T77" fmla="*/ 237 h 428"/>
              <a:gd name="T78" fmla="*/ 600 w 1930"/>
              <a:gd name="T79" fmla="*/ 125 h 428"/>
              <a:gd name="T80" fmla="*/ 569 w 1930"/>
              <a:gd name="T81" fmla="*/ 209 h 428"/>
              <a:gd name="T82" fmla="*/ 647 w 1930"/>
              <a:gd name="T83" fmla="*/ 165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30" h="428">
                <a:moveTo>
                  <a:pt x="12" y="291"/>
                </a:moveTo>
                <a:cubicBezTo>
                  <a:pt x="12" y="292"/>
                  <a:pt x="12" y="292"/>
                  <a:pt x="12" y="292"/>
                </a:cubicBezTo>
                <a:cubicBezTo>
                  <a:pt x="12" y="291"/>
                  <a:pt x="12" y="291"/>
                  <a:pt x="12" y="291"/>
                </a:cubicBezTo>
                <a:close/>
                <a:moveTo>
                  <a:pt x="1064" y="223"/>
                </a:moveTo>
                <a:cubicBezTo>
                  <a:pt x="1064" y="308"/>
                  <a:pt x="993" y="365"/>
                  <a:pt x="918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3" y="83"/>
                  <a:pt x="823" y="83"/>
                  <a:pt x="823" y="83"/>
                </a:cubicBezTo>
                <a:cubicBezTo>
                  <a:pt x="916" y="83"/>
                  <a:pt x="916" y="83"/>
                  <a:pt x="916" y="83"/>
                </a:cubicBezTo>
                <a:cubicBezTo>
                  <a:pt x="1005" y="82"/>
                  <a:pt x="1064" y="138"/>
                  <a:pt x="1064" y="223"/>
                </a:cubicBezTo>
                <a:close/>
                <a:moveTo>
                  <a:pt x="1011" y="220"/>
                </a:moveTo>
                <a:cubicBezTo>
                  <a:pt x="1009" y="168"/>
                  <a:pt x="973" y="127"/>
                  <a:pt x="918" y="128"/>
                </a:cubicBezTo>
                <a:cubicBezTo>
                  <a:pt x="874" y="128"/>
                  <a:pt x="874" y="128"/>
                  <a:pt x="874" y="128"/>
                </a:cubicBezTo>
                <a:cubicBezTo>
                  <a:pt x="874" y="321"/>
                  <a:pt x="874" y="321"/>
                  <a:pt x="874" y="321"/>
                </a:cubicBezTo>
                <a:cubicBezTo>
                  <a:pt x="907" y="321"/>
                  <a:pt x="907" y="321"/>
                  <a:pt x="907" y="321"/>
                </a:cubicBezTo>
                <a:cubicBezTo>
                  <a:pt x="968" y="320"/>
                  <a:pt x="1009" y="285"/>
                  <a:pt x="1011" y="220"/>
                </a:cubicBezTo>
                <a:close/>
                <a:moveTo>
                  <a:pt x="1170" y="366"/>
                </a:moveTo>
                <a:cubicBezTo>
                  <a:pt x="1223" y="366"/>
                  <a:pt x="1223" y="366"/>
                  <a:pt x="1223" y="366"/>
                </a:cubicBezTo>
                <a:cubicBezTo>
                  <a:pt x="1226" y="83"/>
                  <a:pt x="1226" y="83"/>
                  <a:pt x="1226" y="83"/>
                </a:cubicBezTo>
                <a:cubicBezTo>
                  <a:pt x="1173" y="83"/>
                  <a:pt x="1173" y="83"/>
                  <a:pt x="1173" y="83"/>
                </a:cubicBezTo>
                <a:lnTo>
                  <a:pt x="1170" y="366"/>
                </a:lnTo>
                <a:close/>
                <a:moveTo>
                  <a:pt x="1528" y="293"/>
                </a:moveTo>
                <a:cubicBezTo>
                  <a:pt x="1394" y="75"/>
                  <a:pt x="1394" y="75"/>
                  <a:pt x="1394" y="75"/>
                </a:cubicBezTo>
                <a:cubicBezTo>
                  <a:pt x="1346" y="92"/>
                  <a:pt x="1346" y="92"/>
                  <a:pt x="1346" y="92"/>
                </a:cubicBezTo>
                <a:cubicBezTo>
                  <a:pt x="1343" y="366"/>
                  <a:pt x="1343" y="366"/>
                  <a:pt x="1343" y="366"/>
                </a:cubicBezTo>
                <a:cubicBezTo>
                  <a:pt x="1396" y="366"/>
                  <a:pt x="1396" y="366"/>
                  <a:pt x="1396" y="366"/>
                </a:cubicBezTo>
                <a:cubicBezTo>
                  <a:pt x="1391" y="156"/>
                  <a:pt x="1391" y="156"/>
                  <a:pt x="1391" y="156"/>
                </a:cubicBezTo>
                <a:cubicBezTo>
                  <a:pt x="1394" y="156"/>
                  <a:pt x="1394" y="156"/>
                  <a:pt x="1394" y="156"/>
                </a:cubicBezTo>
                <a:cubicBezTo>
                  <a:pt x="1522" y="371"/>
                  <a:pt x="1522" y="371"/>
                  <a:pt x="1522" y="371"/>
                </a:cubicBezTo>
                <a:cubicBezTo>
                  <a:pt x="1575" y="355"/>
                  <a:pt x="1575" y="355"/>
                  <a:pt x="1575" y="355"/>
                </a:cubicBezTo>
                <a:cubicBezTo>
                  <a:pt x="1578" y="83"/>
                  <a:pt x="1578" y="83"/>
                  <a:pt x="1578" y="83"/>
                </a:cubicBezTo>
                <a:cubicBezTo>
                  <a:pt x="1525" y="83"/>
                  <a:pt x="1525" y="83"/>
                  <a:pt x="1525" y="83"/>
                </a:cubicBezTo>
                <a:lnTo>
                  <a:pt x="1528" y="293"/>
                </a:lnTo>
                <a:close/>
                <a:moveTo>
                  <a:pt x="1930" y="355"/>
                </a:moveTo>
                <a:cubicBezTo>
                  <a:pt x="1880" y="371"/>
                  <a:pt x="1880" y="371"/>
                  <a:pt x="1880" y="371"/>
                </a:cubicBezTo>
                <a:cubicBezTo>
                  <a:pt x="1852" y="290"/>
                  <a:pt x="1852" y="290"/>
                  <a:pt x="1852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21" y="371"/>
                  <a:pt x="1721" y="371"/>
                  <a:pt x="1721" y="371"/>
                </a:cubicBezTo>
                <a:cubicBezTo>
                  <a:pt x="1673" y="355"/>
                  <a:pt x="1673" y="355"/>
                  <a:pt x="1673" y="355"/>
                </a:cubicBezTo>
                <a:cubicBezTo>
                  <a:pt x="1782" y="83"/>
                  <a:pt x="1782" y="83"/>
                  <a:pt x="1782" y="83"/>
                </a:cubicBezTo>
                <a:cubicBezTo>
                  <a:pt x="1830" y="83"/>
                  <a:pt x="1830" y="83"/>
                  <a:pt x="1830" y="83"/>
                </a:cubicBezTo>
                <a:lnTo>
                  <a:pt x="1930" y="355"/>
                </a:lnTo>
                <a:close/>
                <a:moveTo>
                  <a:pt x="1838" y="248"/>
                </a:moveTo>
                <a:cubicBezTo>
                  <a:pt x="1805" y="137"/>
                  <a:pt x="1805" y="137"/>
                  <a:pt x="1805" y="137"/>
                </a:cubicBezTo>
                <a:cubicBezTo>
                  <a:pt x="1768" y="248"/>
                  <a:pt x="1768" y="248"/>
                  <a:pt x="1768" y="248"/>
                </a:cubicBezTo>
                <a:lnTo>
                  <a:pt x="1838" y="248"/>
                </a:lnTo>
                <a:close/>
                <a:moveTo>
                  <a:pt x="13" y="292"/>
                </a:moveTo>
                <a:cubicBezTo>
                  <a:pt x="13" y="292"/>
                  <a:pt x="13" y="292"/>
                  <a:pt x="13" y="292"/>
                </a:cubicBezTo>
                <a:cubicBezTo>
                  <a:pt x="13" y="292"/>
                  <a:pt x="13" y="292"/>
                  <a:pt x="13" y="292"/>
                </a:cubicBezTo>
                <a:close/>
                <a:moveTo>
                  <a:pt x="384" y="154"/>
                </a:moveTo>
                <a:cubicBezTo>
                  <a:pt x="403" y="205"/>
                  <a:pt x="400" y="259"/>
                  <a:pt x="378" y="308"/>
                </a:cubicBezTo>
                <a:cubicBezTo>
                  <a:pt x="356" y="356"/>
                  <a:pt x="316" y="392"/>
                  <a:pt x="266" y="410"/>
                </a:cubicBezTo>
                <a:cubicBezTo>
                  <a:pt x="216" y="428"/>
                  <a:pt x="162" y="426"/>
                  <a:pt x="114" y="403"/>
                </a:cubicBezTo>
                <a:cubicBezTo>
                  <a:pt x="66" y="381"/>
                  <a:pt x="30" y="341"/>
                  <a:pt x="13" y="292"/>
                </a:cubicBezTo>
                <a:cubicBezTo>
                  <a:pt x="4" y="269"/>
                  <a:pt x="0" y="246"/>
                  <a:pt x="0" y="223"/>
                </a:cubicBezTo>
                <a:cubicBezTo>
                  <a:pt x="0" y="195"/>
                  <a:pt x="6" y="167"/>
                  <a:pt x="18" y="141"/>
                </a:cubicBezTo>
                <a:cubicBezTo>
                  <a:pt x="40" y="92"/>
                  <a:pt x="80" y="55"/>
                  <a:pt x="131" y="36"/>
                </a:cubicBezTo>
                <a:cubicBezTo>
                  <a:pt x="234" y="0"/>
                  <a:pt x="347" y="53"/>
                  <a:pt x="384" y="154"/>
                </a:cubicBezTo>
                <a:close/>
                <a:moveTo>
                  <a:pt x="329" y="174"/>
                </a:moveTo>
                <a:cubicBezTo>
                  <a:pt x="303" y="103"/>
                  <a:pt x="223" y="66"/>
                  <a:pt x="151" y="91"/>
                </a:cubicBezTo>
                <a:cubicBezTo>
                  <a:pt x="116" y="105"/>
                  <a:pt x="87" y="131"/>
                  <a:pt x="72" y="165"/>
                </a:cubicBezTo>
                <a:cubicBezTo>
                  <a:pt x="56" y="199"/>
                  <a:pt x="55" y="237"/>
                  <a:pt x="68" y="272"/>
                </a:cubicBezTo>
                <a:cubicBezTo>
                  <a:pt x="68" y="272"/>
                  <a:pt x="68" y="272"/>
                  <a:pt x="68" y="272"/>
                </a:cubicBezTo>
                <a:cubicBezTo>
                  <a:pt x="80" y="307"/>
                  <a:pt x="106" y="334"/>
                  <a:pt x="139" y="350"/>
                </a:cubicBezTo>
                <a:cubicBezTo>
                  <a:pt x="173" y="366"/>
                  <a:pt x="211" y="368"/>
                  <a:pt x="246" y="355"/>
                </a:cubicBezTo>
                <a:cubicBezTo>
                  <a:pt x="281" y="342"/>
                  <a:pt x="309" y="316"/>
                  <a:pt x="325" y="283"/>
                </a:cubicBezTo>
                <a:cubicBezTo>
                  <a:pt x="341" y="249"/>
                  <a:pt x="342" y="210"/>
                  <a:pt x="329" y="174"/>
                </a:cubicBezTo>
                <a:close/>
                <a:moveTo>
                  <a:pt x="647" y="237"/>
                </a:moveTo>
                <a:cubicBezTo>
                  <a:pt x="734" y="352"/>
                  <a:pt x="734" y="352"/>
                  <a:pt x="734" y="352"/>
                </a:cubicBezTo>
                <a:cubicBezTo>
                  <a:pt x="681" y="371"/>
                  <a:pt x="681" y="371"/>
                  <a:pt x="681" y="371"/>
                </a:cubicBezTo>
                <a:cubicBezTo>
                  <a:pt x="602" y="262"/>
                  <a:pt x="602" y="262"/>
                  <a:pt x="602" y="262"/>
                </a:cubicBezTo>
                <a:cubicBezTo>
                  <a:pt x="598" y="255"/>
                  <a:pt x="592" y="252"/>
                  <a:pt x="583" y="251"/>
                </a:cubicBezTo>
                <a:cubicBezTo>
                  <a:pt x="566" y="251"/>
                  <a:pt x="566" y="251"/>
                  <a:pt x="566" y="251"/>
                </a:cubicBezTo>
                <a:cubicBezTo>
                  <a:pt x="566" y="366"/>
                  <a:pt x="566" y="366"/>
                  <a:pt x="566" y="366"/>
                </a:cubicBezTo>
                <a:cubicBezTo>
                  <a:pt x="513" y="366"/>
                  <a:pt x="513" y="366"/>
                  <a:pt x="513" y="366"/>
                </a:cubicBezTo>
                <a:cubicBezTo>
                  <a:pt x="516" y="83"/>
                  <a:pt x="516" y="83"/>
                  <a:pt x="516" y="83"/>
                </a:cubicBezTo>
                <a:cubicBezTo>
                  <a:pt x="605" y="83"/>
                  <a:pt x="605" y="83"/>
                  <a:pt x="605" y="83"/>
                </a:cubicBezTo>
                <a:cubicBezTo>
                  <a:pt x="674" y="83"/>
                  <a:pt x="702" y="120"/>
                  <a:pt x="703" y="165"/>
                </a:cubicBezTo>
                <a:cubicBezTo>
                  <a:pt x="702" y="200"/>
                  <a:pt x="680" y="226"/>
                  <a:pt x="647" y="237"/>
                </a:cubicBezTo>
                <a:close/>
                <a:moveTo>
                  <a:pt x="647" y="165"/>
                </a:moveTo>
                <a:cubicBezTo>
                  <a:pt x="647" y="139"/>
                  <a:pt x="625" y="125"/>
                  <a:pt x="600" y="125"/>
                </a:cubicBezTo>
                <a:cubicBezTo>
                  <a:pt x="569" y="125"/>
                  <a:pt x="569" y="125"/>
                  <a:pt x="569" y="125"/>
                </a:cubicBezTo>
                <a:cubicBezTo>
                  <a:pt x="569" y="209"/>
                  <a:pt x="569" y="209"/>
                  <a:pt x="569" y="209"/>
                </a:cubicBezTo>
                <a:cubicBezTo>
                  <a:pt x="600" y="209"/>
                  <a:pt x="600" y="209"/>
                  <a:pt x="600" y="209"/>
                </a:cubicBezTo>
                <a:cubicBezTo>
                  <a:pt x="616" y="209"/>
                  <a:pt x="647" y="202"/>
                  <a:pt x="647" y="1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9" name="Ahead of change (PHJU)"/>
          <p:cNvSpPr>
            <a:spLocks noGrp="1" noSelect="1" noChangeAspect="1"/>
          </p:cNvSpPr>
          <p:nvPr userDrawn="1">
            <p:ph type="body" idx="1000" hasCustomPrompt="1"/>
            <p:custDataLst>
              <p:custData r:id="rId3"/>
            </p:custDataLst>
          </p:nvPr>
        </p:nvSpPr>
        <p:spPr bwMode="gray">
          <a:xfrm>
            <a:off x="463116" y="6418800"/>
            <a:ext cx="900000" cy="117288"/>
          </a:xfrm>
          <a:custGeom>
            <a:avLst/>
            <a:gdLst>
              <a:gd name="T0" fmla="*/ 2256 w 2302"/>
              <a:gd name="T1" fmla="*/ 152 h 301"/>
              <a:gd name="T2" fmla="*/ 2299 w 2302"/>
              <a:gd name="T3" fmla="*/ 177 h 301"/>
              <a:gd name="T4" fmla="*/ 2232 w 2302"/>
              <a:gd name="T5" fmla="*/ 234 h 301"/>
              <a:gd name="T6" fmla="*/ 2232 w 2302"/>
              <a:gd name="T7" fmla="*/ 199 h 301"/>
              <a:gd name="T8" fmla="*/ 2024 w 2302"/>
              <a:gd name="T9" fmla="*/ 164 h 301"/>
              <a:gd name="T10" fmla="*/ 2053 w 2302"/>
              <a:gd name="T11" fmla="*/ 197 h 301"/>
              <a:gd name="T12" fmla="*/ 2125 w 2302"/>
              <a:gd name="T13" fmla="*/ 97 h 301"/>
              <a:gd name="T14" fmla="*/ 2040 w 2302"/>
              <a:gd name="T15" fmla="*/ 94 h 301"/>
              <a:gd name="T16" fmla="*/ 2082 w 2302"/>
              <a:gd name="T17" fmla="*/ 213 h 301"/>
              <a:gd name="T18" fmla="*/ 2011 w 2302"/>
              <a:gd name="T19" fmla="*/ 245 h 301"/>
              <a:gd name="T20" fmla="*/ 1817 w 2302"/>
              <a:gd name="T21" fmla="*/ 231 h 301"/>
              <a:gd name="T22" fmla="*/ 1887 w 2302"/>
              <a:gd name="T23" fmla="*/ 133 h 301"/>
              <a:gd name="T24" fmla="*/ 1952 w 2302"/>
              <a:gd name="T25" fmla="*/ 231 h 301"/>
              <a:gd name="T26" fmla="*/ 1859 w 2302"/>
              <a:gd name="T27" fmla="*/ 119 h 301"/>
              <a:gd name="T28" fmla="*/ 1817 w 2302"/>
              <a:gd name="T29" fmla="*/ 231 h 301"/>
              <a:gd name="T30" fmla="*/ 1714 w 2302"/>
              <a:gd name="T31" fmla="*/ 132 h 301"/>
              <a:gd name="T32" fmla="*/ 1701 w 2302"/>
              <a:gd name="T33" fmla="*/ 234 h 301"/>
              <a:gd name="T34" fmla="*/ 1784 w 2302"/>
              <a:gd name="T35" fmla="*/ 231 h 301"/>
              <a:gd name="T36" fmla="*/ 1742 w 2302"/>
              <a:gd name="T37" fmla="*/ 117 h 301"/>
              <a:gd name="T38" fmla="*/ 1701 w 2302"/>
              <a:gd name="T39" fmla="*/ 234 h 301"/>
              <a:gd name="T40" fmla="*/ 1522 w 2302"/>
              <a:gd name="T41" fmla="*/ 159 h 301"/>
              <a:gd name="T42" fmla="*/ 1571 w 2302"/>
              <a:gd name="T43" fmla="*/ 231 h 301"/>
              <a:gd name="T44" fmla="*/ 1563 w 2302"/>
              <a:gd name="T45" fmla="*/ 94 h 301"/>
              <a:gd name="T46" fmla="*/ 1479 w 2302"/>
              <a:gd name="T47" fmla="*/ 4 h 301"/>
              <a:gd name="T48" fmla="*/ 1453 w 2302"/>
              <a:gd name="T49" fmla="*/ 210 h 301"/>
              <a:gd name="T50" fmla="*/ 1368 w 2302"/>
              <a:gd name="T51" fmla="*/ 164 h 301"/>
              <a:gd name="T52" fmla="*/ 1454 w 2302"/>
              <a:gd name="T53" fmla="*/ 121 h 301"/>
              <a:gd name="T54" fmla="*/ 1397 w 2302"/>
              <a:gd name="T55" fmla="*/ 234 h 301"/>
              <a:gd name="T56" fmla="*/ 1197 w 2302"/>
              <a:gd name="T57" fmla="*/ 132 h 301"/>
              <a:gd name="T58" fmla="*/ 1197 w 2302"/>
              <a:gd name="T59" fmla="*/ 97 h 301"/>
              <a:gd name="T60" fmla="*/ 1222 w 2302"/>
              <a:gd name="T61" fmla="*/ 45 h 301"/>
              <a:gd name="T62" fmla="*/ 1154 w 2302"/>
              <a:gd name="T63" fmla="*/ 52 h 301"/>
              <a:gd name="T64" fmla="*/ 1132 w 2302"/>
              <a:gd name="T65" fmla="*/ 132 h 301"/>
              <a:gd name="T66" fmla="*/ 1040 w 2302"/>
              <a:gd name="T67" fmla="*/ 198 h 301"/>
              <a:gd name="T68" fmla="*/ 1070 w 2302"/>
              <a:gd name="T69" fmla="*/ 164 h 301"/>
              <a:gd name="T70" fmla="*/ 1113 w 2302"/>
              <a:gd name="T71" fmla="*/ 164 h 301"/>
              <a:gd name="T72" fmla="*/ 1040 w 2302"/>
              <a:gd name="T73" fmla="*/ 234 h 301"/>
              <a:gd name="T74" fmla="*/ 796 w 2302"/>
              <a:gd name="T75" fmla="*/ 132 h 301"/>
              <a:gd name="T76" fmla="*/ 784 w 2302"/>
              <a:gd name="T77" fmla="*/ 234 h 301"/>
              <a:gd name="T78" fmla="*/ 867 w 2302"/>
              <a:gd name="T79" fmla="*/ 231 h 301"/>
              <a:gd name="T80" fmla="*/ 825 w 2302"/>
              <a:gd name="T81" fmla="*/ 116 h 301"/>
              <a:gd name="T82" fmla="*/ 784 w 2302"/>
              <a:gd name="T83" fmla="*/ 234 h 301"/>
              <a:gd name="T84" fmla="*/ 624 w 2302"/>
              <a:gd name="T85" fmla="*/ 132 h 301"/>
              <a:gd name="T86" fmla="*/ 611 w 2302"/>
              <a:gd name="T87" fmla="*/ 234 h 301"/>
              <a:gd name="T88" fmla="*/ 694 w 2302"/>
              <a:gd name="T89" fmla="*/ 231 h 301"/>
              <a:gd name="T90" fmla="*/ 652 w 2302"/>
              <a:gd name="T91" fmla="*/ 117 h 301"/>
              <a:gd name="T92" fmla="*/ 611 w 2302"/>
              <a:gd name="T93" fmla="*/ 234 h 301"/>
              <a:gd name="T94" fmla="*/ 484 w 2302"/>
              <a:gd name="T95" fmla="*/ 152 h 301"/>
              <a:gd name="T96" fmla="*/ 527 w 2302"/>
              <a:gd name="T97" fmla="*/ 177 h 301"/>
              <a:gd name="T98" fmla="*/ 460 w 2302"/>
              <a:gd name="T99" fmla="*/ 234 h 301"/>
              <a:gd name="T100" fmla="*/ 460 w 2302"/>
              <a:gd name="T101" fmla="*/ 199 h 301"/>
              <a:gd name="T102" fmla="*/ 262 w 2302"/>
              <a:gd name="T103" fmla="*/ 231 h 301"/>
              <a:gd name="T104" fmla="*/ 311 w 2302"/>
              <a:gd name="T105" fmla="*/ 156 h 301"/>
              <a:gd name="T106" fmla="*/ 354 w 2302"/>
              <a:gd name="T107" fmla="*/ 154 h 301"/>
              <a:gd name="T108" fmla="*/ 262 w 2302"/>
              <a:gd name="T109" fmla="*/ 4 h 301"/>
              <a:gd name="T110" fmla="*/ 68 w 2302"/>
              <a:gd name="T111" fmla="*/ 170 h 301"/>
              <a:gd name="T112" fmla="*/ 109 w 2302"/>
              <a:gd name="T113" fmla="*/ 133 h 301"/>
              <a:gd name="T114" fmla="*/ 0 w 2302"/>
              <a:gd name="T115" fmla="*/ 231 h 301"/>
              <a:gd name="T116" fmla="*/ 140 w 2302"/>
              <a:gd name="T117" fmla="*/ 207 h 301"/>
              <a:gd name="T118" fmla="*/ 98 w 2302"/>
              <a:gd name="T119" fmla="*/ 15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02" h="301">
                <a:moveTo>
                  <a:pt x="2196" y="152"/>
                </a:moveTo>
                <a:cubicBezTo>
                  <a:pt x="2200" y="136"/>
                  <a:pt x="2211" y="129"/>
                  <a:pt x="2228" y="129"/>
                </a:cubicBezTo>
                <a:cubicBezTo>
                  <a:pt x="2245" y="129"/>
                  <a:pt x="2254" y="138"/>
                  <a:pt x="2256" y="152"/>
                </a:cubicBezTo>
                <a:lnTo>
                  <a:pt x="2196" y="152"/>
                </a:lnTo>
                <a:close/>
                <a:moveTo>
                  <a:pt x="2197" y="177"/>
                </a:moveTo>
                <a:cubicBezTo>
                  <a:pt x="2299" y="177"/>
                  <a:pt x="2299" y="177"/>
                  <a:pt x="2299" y="177"/>
                </a:cubicBezTo>
                <a:cubicBezTo>
                  <a:pt x="2302" y="130"/>
                  <a:pt x="2276" y="94"/>
                  <a:pt x="2228" y="94"/>
                </a:cubicBezTo>
                <a:cubicBezTo>
                  <a:pt x="2186" y="94"/>
                  <a:pt x="2153" y="123"/>
                  <a:pt x="2153" y="164"/>
                </a:cubicBezTo>
                <a:cubicBezTo>
                  <a:pt x="2153" y="205"/>
                  <a:pt x="2184" y="234"/>
                  <a:pt x="2232" y="234"/>
                </a:cubicBezTo>
                <a:cubicBezTo>
                  <a:pt x="2260" y="234"/>
                  <a:pt x="2277" y="225"/>
                  <a:pt x="2290" y="214"/>
                </a:cubicBezTo>
                <a:cubicBezTo>
                  <a:pt x="2265" y="188"/>
                  <a:pt x="2265" y="188"/>
                  <a:pt x="2265" y="188"/>
                </a:cubicBezTo>
                <a:cubicBezTo>
                  <a:pt x="2259" y="193"/>
                  <a:pt x="2247" y="199"/>
                  <a:pt x="2232" y="199"/>
                </a:cubicBezTo>
                <a:cubicBezTo>
                  <a:pt x="2212" y="199"/>
                  <a:pt x="2201" y="191"/>
                  <a:pt x="2197" y="177"/>
                </a:cubicBezTo>
                <a:close/>
                <a:moveTo>
                  <a:pt x="2053" y="197"/>
                </a:moveTo>
                <a:cubicBezTo>
                  <a:pt x="2035" y="197"/>
                  <a:pt x="2024" y="185"/>
                  <a:pt x="2024" y="164"/>
                </a:cubicBezTo>
                <a:cubicBezTo>
                  <a:pt x="2024" y="144"/>
                  <a:pt x="2035" y="132"/>
                  <a:pt x="2053" y="132"/>
                </a:cubicBezTo>
                <a:cubicBezTo>
                  <a:pt x="2071" y="132"/>
                  <a:pt x="2083" y="144"/>
                  <a:pt x="2083" y="164"/>
                </a:cubicBezTo>
                <a:cubicBezTo>
                  <a:pt x="2083" y="185"/>
                  <a:pt x="2071" y="197"/>
                  <a:pt x="2053" y="197"/>
                </a:cubicBezTo>
                <a:close/>
                <a:moveTo>
                  <a:pt x="2052" y="301"/>
                </a:moveTo>
                <a:cubicBezTo>
                  <a:pt x="2091" y="301"/>
                  <a:pt x="2125" y="282"/>
                  <a:pt x="2125" y="231"/>
                </a:cubicBezTo>
                <a:cubicBezTo>
                  <a:pt x="2125" y="97"/>
                  <a:pt x="2125" y="97"/>
                  <a:pt x="2125" y="97"/>
                </a:cubicBezTo>
                <a:cubicBezTo>
                  <a:pt x="2082" y="97"/>
                  <a:pt x="2082" y="97"/>
                  <a:pt x="2082" y="97"/>
                </a:cubicBezTo>
                <a:cubicBezTo>
                  <a:pt x="2083" y="118"/>
                  <a:pt x="2083" y="118"/>
                  <a:pt x="2083" y="118"/>
                </a:cubicBezTo>
                <a:cubicBezTo>
                  <a:pt x="2075" y="104"/>
                  <a:pt x="2062" y="94"/>
                  <a:pt x="2040" y="94"/>
                </a:cubicBezTo>
                <a:cubicBezTo>
                  <a:pt x="2008" y="94"/>
                  <a:pt x="1980" y="122"/>
                  <a:pt x="1980" y="164"/>
                </a:cubicBezTo>
                <a:cubicBezTo>
                  <a:pt x="1980" y="205"/>
                  <a:pt x="2008" y="234"/>
                  <a:pt x="2041" y="234"/>
                </a:cubicBezTo>
                <a:cubicBezTo>
                  <a:pt x="2061" y="234"/>
                  <a:pt x="2075" y="225"/>
                  <a:pt x="2082" y="213"/>
                </a:cubicBezTo>
                <a:cubicBezTo>
                  <a:pt x="2082" y="229"/>
                  <a:pt x="2082" y="229"/>
                  <a:pt x="2082" y="229"/>
                </a:cubicBezTo>
                <a:cubicBezTo>
                  <a:pt x="2082" y="254"/>
                  <a:pt x="2070" y="265"/>
                  <a:pt x="2050" y="265"/>
                </a:cubicBezTo>
                <a:cubicBezTo>
                  <a:pt x="2031" y="265"/>
                  <a:pt x="2020" y="256"/>
                  <a:pt x="2011" y="245"/>
                </a:cubicBezTo>
                <a:cubicBezTo>
                  <a:pt x="1981" y="268"/>
                  <a:pt x="1981" y="268"/>
                  <a:pt x="1981" y="268"/>
                </a:cubicBezTo>
                <a:cubicBezTo>
                  <a:pt x="1996" y="288"/>
                  <a:pt x="2017" y="301"/>
                  <a:pt x="2052" y="301"/>
                </a:cubicBezTo>
                <a:close/>
                <a:moveTo>
                  <a:pt x="1817" y="231"/>
                </a:moveTo>
                <a:cubicBezTo>
                  <a:pt x="1860" y="231"/>
                  <a:pt x="1860" y="231"/>
                  <a:pt x="1860" y="231"/>
                </a:cubicBezTo>
                <a:cubicBezTo>
                  <a:pt x="1860" y="159"/>
                  <a:pt x="1860" y="159"/>
                  <a:pt x="1860" y="159"/>
                </a:cubicBezTo>
                <a:cubicBezTo>
                  <a:pt x="1860" y="142"/>
                  <a:pt x="1870" y="133"/>
                  <a:pt x="1887" y="133"/>
                </a:cubicBezTo>
                <a:cubicBezTo>
                  <a:pt x="1902" y="133"/>
                  <a:pt x="1909" y="141"/>
                  <a:pt x="1909" y="156"/>
                </a:cubicBezTo>
                <a:cubicBezTo>
                  <a:pt x="1909" y="231"/>
                  <a:pt x="1909" y="231"/>
                  <a:pt x="1909" y="231"/>
                </a:cubicBezTo>
                <a:cubicBezTo>
                  <a:pt x="1952" y="231"/>
                  <a:pt x="1952" y="231"/>
                  <a:pt x="1952" y="231"/>
                </a:cubicBezTo>
                <a:cubicBezTo>
                  <a:pt x="1952" y="154"/>
                  <a:pt x="1952" y="154"/>
                  <a:pt x="1952" y="154"/>
                </a:cubicBezTo>
                <a:cubicBezTo>
                  <a:pt x="1952" y="115"/>
                  <a:pt x="1931" y="94"/>
                  <a:pt x="1901" y="94"/>
                </a:cubicBezTo>
                <a:cubicBezTo>
                  <a:pt x="1883" y="94"/>
                  <a:pt x="1867" y="103"/>
                  <a:pt x="1859" y="119"/>
                </a:cubicBezTo>
                <a:cubicBezTo>
                  <a:pt x="1860" y="97"/>
                  <a:pt x="1860" y="97"/>
                  <a:pt x="1860" y="97"/>
                </a:cubicBezTo>
                <a:cubicBezTo>
                  <a:pt x="1817" y="97"/>
                  <a:pt x="1817" y="97"/>
                  <a:pt x="1817" y="97"/>
                </a:cubicBezTo>
                <a:lnTo>
                  <a:pt x="1817" y="231"/>
                </a:lnTo>
                <a:close/>
                <a:moveTo>
                  <a:pt x="1714" y="197"/>
                </a:moveTo>
                <a:cubicBezTo>
                  <a:pt x="1696" y="197"/>
                  <a:pt x="1686" y="184"/>
                  <a:pt x="1686" y="164"/>
                </a:cubicBezTo>
                <a:cubicBezTo>
                  <a:pt x="1686" y="144"/>
                  <a:pt x="1696" y="132"/>
                  <a:pt x="1714" y="132"/>
                </a:cubicBezTo>
                <a:cubicBezTo>
                  <a:pt x="1732" y="132"/>
                  <a:pt x="1742" y="144"/>
                  <a:pt x="1742" y="164"/>
                </a:cubicBezTo>
                <a:cubicBezTo>
                  <a:pt x="1742" y="184"/>
                  <a:pt x="1732" y="197"/>
                  <a:pt x="1714" y="197"/>
                </a:cubicBezTo>
                <a:close/>
                <a:moveTo>
                  <a:pt x="1701" y="234"/>
                </a:moveTo>
                <a:cubicBezTo>
                  <a:pt x="1721" y="234"/>
                  <a:pt x="1735" y="224"/>
                  <a:pt x="1742" y="211"/>
                </a:cubicBezTo>
                <a:cubicBezTo>
                  <a:pt x="1742" y="231"/>
                  <a:pt x="1742" y="231"/>
                  <a:pt x="1742" y="231"/>
                </a:cubicBezTo>
                <a:cubicBezTo>
                  <a:pt x="1784" y="231"/>
                  <a:pt x="1784" y="231"/>
                  <a:pt x="1784" y="231"/>
                </a:cubicBezTo>
                <a:cubicBezTo>
                  <a:pt x="1784" y="97"/>
                  <a:pt x="1784" y="97"/>
                  <a:pt x="1784" y="97"/>
                </a:cubicBezTo>
                <a:cubicBezTo>
                  <a:pt x="1742" y="97"/>
                  <a:pt x="1742" y="97"/>
                  <a:pt x="1742" y="97"/>
                </a:cubicBezTo>
                <a:cubicBezTo>
                  <a:pt x="1742" y="117"/>
                  <a:pt x="1742" y="117"/>
                  <a:pt x="1742" y="117"/>
                </a:cubicBezTo>
                <a:cubicBezTo>
                  <a:pt x="1735" y="103"/>
                  <a:pt x="1722" y="94"/>
                  <a:pt x="1701" y="94"/>
                </a:cubicBezTo>
                <a:cubicBezTo>
                  <a:pt x="1668" y="94"/>
                  <a:pt x="1642" y="123"/>
                  <a:pt x="1642" y="164"/>
                </a:cubicBezTo>
                <a:cubicBezTo>
                  <a:pt x="1642" y="205"/>
                  <a:pt x="1669" y="234"/>
                  <a:pt x="1701" y="234"/>
                </a:cubicBezTo>
                <a:close/>
                <a:moveTo>
                  <a:pt x="1479" y="231"/>
                </a:moveTo>
                <a:cubicBezTo>
                  <a:pt x="1522" y="231"/>
                  <a:pt x="1522" y="231"/>
                  <a:pt x="1522" y="231"/>
                </a:cubicBezTo>
                <a:cubicBezTo>
                  <a:pt x="1522" y="159"/>
                  <a:pt x="1522" y="159"/>
                  <a:pt x="1522" y="159"/>
                </a:cubicBezTo>
                <a:cubicBezTo>
                  <a:pt x="1522" y="142"/>
                  <a:pt x="1532" y="133"/>
                  <a:pt x="1549" y="133"/>
                </a:cubicBezTo>
                <a:cubicBezTo>
                  <a:pt x="1564" y="133"/>
                  <a:pt x="1571" y="141"/>
                  <a:pt x="1571" y="156"/>
                </a:cubicBezTo>
                <a:cubicBezTo>
                  <a:pt x="1571" y="231"/>
                  <a:pt x="1571" y="231"/>
                  <a:pt x="1571" y="231"/>
                </a:cubicBezTo>
                <a:cubicBezTo>
                  <a:pt x="1614" y="231"/>
                  <a:pt x="1614" y="231"/>
                  <a:pt x="1614" y="231"/>
                </a:cubicBezTo>
                <a:cubicBezTo>
                  <a:pt x="1614" y="154"/>
                  <a:pt x="1614" y="154"/>
                  <a:pt x="1614" y="154"/>
                </a:cubicBezTo>
                <a:cubicBezTo>
                  <a:pt x="1614" y="115"/>
                  <a:pt x="1592" y="94"/>
                  <a:pt x="1563" y="94"/>
                </a:cubicBezTo>
                <a:cubicBezTo>
                  <a:pt x="1545" y="94"/>
                  <a:pt x="1530" y="103"/>
                  <a:pt x="1522" y="118"/>
                </a:cubicBezTo>
                <a:cubicBezTo>
                  <a:pt x="1522" y="4"/>
                  <a:pt x="1522" y="4"/>
                  <a:pt x="1522" y="4"/>
                </a:cubicBezTo>
                <a:cubicBezTo>
                  <a:pt x="1479" y="4"/>
                  <a:pt x="1479" y="4"/>
                  <a:pt x="1479" y="4"/>
                </a:cubicBezTo>
                <a:lnTo>
                  <a:pt x="1479" y="231"/>
                </a:lnTo>
                <a:close/>
                <a:moveTo>
                  <a:pt x="1397" y="234"/>
                </a:moveTo>
                <a:cubicBezTo>
                  <a:pt x="1424" y="234"/>
                  <a:pt x="1440" y="224"/>
                  <a:pt x="1453" y="210"/>
                </a:cubicBezTo>
                <a:cubicBezTo>
                  <a:pt x="1425" y="184"/>
                  <a:pt x="1425" y="184"/>
                  <a:pt x="1425" y="184"/>
                </a:cubicBezTo>
                <a:cubicBezTo>
                  <a:pt x="1418" y="191"/>
                  <a:pt x="1411" y="197"/>
                  <a:pt x="1397" y="197"/>
                </a:cubicBezTo>
                <a:cubicBezTo>
                  <a:pt x="1378" y="197"/>
                  <a:pt x="1368" y="183"/>
                  <a:pt x="1368" y="164"/>
                </a:cubicBezTo>
                <a:cubicBezTo>
                  <a:pt x="1368" y="145"/>
                  <a:pt x="1378" y="131"/>
                  <a:pt x="1397" y="131"/>
                </a:cubicBezTo>
                <a:cubicBezTo>
                  <a:pt x="1408" y="131"/>
                  <a:pt x="1419" y="137"/>
                  <a:pt x="1424" y="145"/>
                </a:cubicBezTo>
                <a:cubicBezTo>
                  <a:pt x="1454" y="121"/>
                  <a:pt x="1454" y="121"/>
                  <a:pt x="1454" y="121"/>
                </a:cubicBezTo>
                <a:cubicBezTo>
                  <a:pt x="1440" y="104"/>
                  <a:pt x="1424" y="94"/>
                  <a:pt x="1397" y="94"/>
                </a:cubicBezTo>
                <a:cubicBezTo>
                  <a:pt x="1356" y="94"/>
                  <a:pt x="1324" y="123"/>
                  <a:pt x="1324" y="164"/>
                </a:cubicBezTo>
                <a:cubicBezTo>
                  <a:pt x="1324" y="205"/>
                  <a:pt x="1356" y="234"/>
                  <a:pt x="1397" y="234"/>
                </a:cubicBezTo>
                <a:close/>
                <a:moveTo>
                  <a:pt x="1154" y="231"/>
                </a:moveTo>
                <a:cubicBezTo>
                  <a:pt x="1197" y="231"/>
                  <a:pt x="1197" y="231"/>
                  <a:pt x="1197" y="231"/>
                </a:cubicBezTo>
                <a:cubicBezTo>
                  <a:pt x="1197" y="132"/>
                  <a:pt x="1197" y="132"/>
                  <a:pt x="1197" y="132"/>
                </a:cubicBezTo>
                <a:cubicBezTo>
                  <a:pt x="1233" y="132"/>
                  <a:pt x="1233" y="132"/>
                  <a:pt x="1233" y="132"/>
                </a:cubicBezTo>
                <a:cubicBezTo>
                  <a:pt x="1233" y="97"/>
                  <a:pt x="1233" y="97"/>
                  <a:pt x="1233" y="97"/>
                </a:cubicBezTo>
                <a:cubicBezTo>
                  <a:pt x="1197" y="97"/>
                  <a:pt x="1197" y="97"/>
                  <a:pt x="1197" y="97"/>
                </a:cubicBezTo>
                <a:cubicBezTo>
                  <a:pt x="1197" y="51"/>
                  <a:pt x="1197" y="51"/>
                  <a:pt x="1197" y="51"/>
                </a:cubicBezTo>
                <a:cubicBezTo>
                  <a:pt x="1197" y="41"/>
                  <a:pt x="1202" y="38"/>
                  <a:pt x="1208" y="38"/>
                </a:cubicBezTo>
                <a:cubicBezTo>
                  <a:pt x="1215" y="38"/>
                  <a:pt x="1219" y="41"/>
                  <a:pt x="1222" y="45"/>
                </a:cubicBezTo>
                <a:cubicBezTo>
                  <a:pt x="1245" y="17"/>
                  <a:pt x="1245" y="17"/>
                  <a:pt x="1245" y="17"/>
                </a:cubicBezTo>
                <a:cubicBezTo>
                  <a:pt x="1235" y="5"/>
                  <a:pt x="1223" y="0"/>
                  <a:pt x="1204" y="0"/>
                </a:cubicBezTo>
                <a:cubicBezTo>
                  <a:pt x="1171" y="0"/>
                  <a:pt x="1154" y="17"/>
                  <a:pt x="1154" y="52"/>
                </a:cubicBezTo>
                <a:cubicBezTo>
                  <a:pt x="1154" y="97"/>
                  <a:pt x="1154" y="97"/>
                  <a:pt x="1154" y="97"/>
                </a:cubicBezTo>
                <a:cubicBezTo>
                  <a:pt x="1132" y="97"/>
                  <a:pt x="1132" y="97"/>
                  <a:pt x="1132" y="97"/>
                </a:cubicBezTo>
                <a:cubicBezTo>
                  <a:pt x="1132" y="132"/>
                  <a:pt x="1132" y="132"/>
                  <a:pt x="1132" y="132"/>
                </a:cubicBezTo>
                <a:cubicBezTo>
                  <a:pt x="1154" y="132"/>
                  <a:pt x="1154" y="132"/>
                  <a:pt x="1154" y="132"/>
                </a:cubicBezTo>
                <a:lnTo>
                  <a:pt x="1154" y="231"/>
                </a:lnTo>
                <a:close/>
                <a:moveTo>
                  <a:pt x="1040" y="198"/>
                </a:moveTo>
                <a:cubicBezTo>
                  <a:pt x="1021" y="198"/>
                  <a:pt x="1009" y="184"/>
                  <a:pt x="1009" y="164"/>
                </a:cubicBezTo>
                <a:cubicBezTo>
                  <a:pt x="1009" y="144"/>
                  <a:pt x="1021" y="131"/>
                  <a:pt x="1040" y="131"/>
                </a:cubicBezTo>
                <a:cubicBezTo>
                  <a:pt x="1059" y="131"/>
                  <a:pt x="1070" y="144"/>
                  <a:pt x="1070" y="164"/>
                </a:cubicBezTo>
                <a:cubicBezTo>
                  <a:pt x="1070" y="184"/>
                  <a:pt x="1059" y="198"/>
                  <a:pt x="1040" y="198"/>
                </a:cubicBezTo>
                <a:close/>
                <a:moveTo>
                  <a:pt x="1040" y="234"/>
                </a:moveTo>
                <a:cubicBezTo>
                  <a:pt x="1081" y="234"/>
                  <a:pt x="1113" y="205"/>
                  <a:pt x="1113" y="164"/>
                </a:cubicBezTo>
                <a:cubicBezTo>
                  <a:pt x="1113" y="123"/>
                  <a:pt x="1081" y="94"/>
                  <a:pt x="1040" y="94"/>
                </a:cubicBezTo>
                <a:cubicBezTo>
                  <a:pt x="998" y="94"/>
                  <a:pt x="966" y="123"/>
                  <a:pt x="966" y="164"/>
                </a:cubicBezTo>
                <a:cubicBezTo>
                  <a:pt x="966" y="205"/>
                  <a:pt x="998" y="234"/>
                  <a:pt x="1040" y="234"/>
                </a:cubicBezTo>
                <a:close/>
                <a:moveTo>
                  <a:pt x="796" y="197"/>
                </a:moveTo>
                <a:cubicBezTo>
                  <a:pt x="778" y="197"/>
                  <a:pt x="767" y="185"/>
                  <a:pt x="767" y="164"/>
                </a:cubicBezTo>
                <a:cubicBezTo>
                  <a:pt x="767" y="144"/>
                  <a:pt x="778" y="132"/>
                  <a:pt x="796" y="132"/>
                </a:cubicBezTo>
                <a:cubicBezTo>
                  <a:pt x="814" y="132"/>
                  <a:pt x="826" y="144"/>
                  <a:pt x="826" y="164"/>
                </a:cubicBezTo>
                <a:cubicBezTo>
                  <a:pt x="826" y="185"/>
                  <a:pt x="814" y="197"/>
                  <a:pt x="796" y="197"/>
                </a:cubicBezTo>
                <a:close/>
                <a:moveTo>
                  <a:pt x="784" y="234"/>
                </a:moveTo>
                <a:cubicBezTo>
                  <a:pt x="804" y="234"/>
                  <a:pt x="818" y="226"/>
                  <a:pt x="826" y="212"/>
                </a:cubicBezTo>
                <a:cubicBezTo>
                  <a:pt x="825" y="231"/>
                  <a:pt x="825" y="231"/>
                  <a:pt x="825" y="231"/>
                </a:cubicBezTo>
                <a:cubicBezTo>
                  <a:pt x="867" y="231"/>
                  <a:pt x="867" y="231"/>
                  <a:pt x="867" y="231"/>
                </a:cubicBezTo>
                <a:cubicBezTo>
                  <a:pt x="867" y="4"/>
                  <a:pt x="867" y="4"/>
                  <a:pt x="867" y="4"/>
                </a:cubicBezTo>
                <a:cubicBezTo>
                  <a:pt x="825" y="4"/>
                  <a:pt x="825" y="4"/>
                  <a:pt x="825" y="4"/>
                </a:cubicBezTo>
                <a:cubicBezTo>
                  <a:pt x="825" y="116"/>
                  <a:pt x="825" y="116"/>
                  <a:pt x="825" y="116"/>
                </a:cubicBezTo>
                <a:cubicBezTo>
                  <a:pt x="816" y="103"/>
                  <a:pt x="804" y="94"/>
                  <a:pt x="783" y="94"/>
                </a:cubicBezTo>
                <a:cubicBezTo>
                  <a:pt x="751" y="94"/>
                  <a:pt x="723" y="122"/>
                  <a:pt x="723" y="164"/>
                </a:cubicBezTo>
                <a:cubicBezTo>
                  <a:pt x="723" y="205"/>
                  <a:pt x="751" y="234"/>
                  <a:pt x="784" y="234"/>
                </a:cubicBezTo>
                <a:close/>
                <a:moveTo>
                  <a:pt x="624" y="197"/>
                </a:moveTo>
                <a:cubicBezTo>
                  <a:pt x="606" y="197"/>
                  <a:pt x="596" y="184"/>
                  <a:pt x="596" y="164"/>
                </a:cubicBezTo>
                <a:cubicBezTo>
                  <a:pt x="596" y="144"/>
                  <a:pt x="606" y="132"/>
                  <a:pt x="624" y="132"/>
                </a:cubicBezTo>
                <a:cubicBezTo>
                  <a:pt x="642" y="132"/>
                  <a:pt x="652" y="144"/>
                  <a:pt x="652" y="164"/>
                </a:cubicBezTo>
                <a:cubicBezTo>
                  <a:pt x="652" y="184"/>
                  <a:pt x="642" y="197"/>
                  <a:pt x="624" y="197"/>
                </a:cubicBezTo>
                <a:close/>
                <a:moveTo>
                  <a:pt x="611" y="234"/>
                </a:moveTo>
                <a:cubicBezTo>
                  <a:pt x="631" y="234"/>
                  <a:pt x="645" y="224"/>
                  <a:pt x="652" y="211"/>
                </a:cubicBezTo>
                <a:cubicBezTo>
                  <a:pt x="652" y="231"/>
                  <a:pt x="652" y="231"/>
                  <a:pt x="652" y="231"/>
                </a:cubicBezTo>
                <a:cubicBezTo>
                  <a:pt x="694" y="231"/>
                  <a:pt x="694" y="231"/>
                  <a:pt x="694" y="231"/>
                </a:cubicBezTo>
                <a:cubicBezTo>
                  <a:pt x="694" y="97"/>
                  <a:pt x="694" y="97"/>
                  <a:pt x="694" y="97"/>
                </a:cubicBezTo>
                <a:cubicBezTo>
                  <a:pt x="652" y="97"/>
                  <a:pt x="652" y="97"/>
                  <a:pt x="652" y="97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45" y="103"/>
                  <a:pt x="631" y="94"/>
                  <a:pt x="611" y="94"/>
                </a:cubicBezTo>
                <a:cubicBezTo>
                  <a:pt x="578" y="94"/>
                  <a:pt x="551" y="123"/>
                  <a:pt x="551" y="164"/>
                </a:cubicBezTo>
                <a:cubicBezTo>
                  <a:pt x="551" y="205"/>
                  <a:pt x="579" y="234"/>
                  <a:pt x="611" y="234"/>
                </a:cubicBezTo>
                <a:close/>
                <a:moveTo>
                  <a:pt x="424" y="152"/>
                </a:moveTo>
                <a:cubicBezTo>
                  <a:pt x="428" y="136"/>
                  <a:pt x="439" y="129"/>
                  <a:pt x="456" y="129"/>
                </a:cubicBezTo>
                <a:cubicBezTo>
                  <a:pt x="473" y="129"/>
                  <a:pt x="482" y="138"/>
                  <a:pt x="484" y="152"/>
                </a:cubicBezTo>
                <a:lnTo>
                  <a:pt x="424" y="152"/>
                </a:lnTo>
                <a:close/>
                <a:moveTo>
                  <a:pt x="425" y="177"/>
                </a:moveTo>
                <a:cubicBezTo>
                  <a:pt x="527" y="177"/>
                  <a:pt x="527" y="177"/>
                  <a:pt x="527" y="177"/>
                </a:cubicBezTo>
                <a:cubicBezTo>
                  <a:pt x="530" y="130"/>
                  <a:pt x="504" y="94"/>
                  <a:pt x="456" y="94"/>
                </a:cubicBezTo>
                <a:cubicBezTo>
                  <a:pt x="414" y="94"/>
                  <a:pt x="382" y="123"/>
                  <a:pt x="382" y="164"/>
                </a:cubicBezTo>
                <a:cubicBezTo>
                  <a:pt x="382" y="205"/>
                  <a:pt x="413" y="234"/>
                  <a:pt x="460" y="234"/>
                </a:cubicBezTo>
                <a:cubicBezTo>
                  <a:pt x="488" y="234"/>
                  <a:pt x="505" y="225"/>
                  <a:pt x="518" y="214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87" y="193"/>
                  <a:pt x="475" y="199"/>
                  <a:pt x="460" y="199"/>
                </a:cubicBezTo>
                <a:cubicBezTo>
                  <a:pt x="441" y="199"/>
                  <a:pt x="429" y="191"/>
                  <a:pt x="425" y="177"/>
                </a:cubicBezTo>
                <a:close/>
                <a:moveTo>
                  <a:pt x="219" y="231"/>
                </a:moveTo>
                <a:cubicBezTo>
                  <a:pt x="262" y="231"/>
                  <a:pt x="262" y="231"/>
                  <a:pt x="262" y="231"/>
                </a:cubicBezTo>
                <a:cubicBezTo>
                  <a:pt x="262" y="159"/>
                  <a:pt x="262" y="159"/>
                  <a:pt x="262" y="159"/>
                </a:cubicBezTo>
                <a:cubicBezTo>
                  <a:pt x="262" y="142"/>
                  <a:pt x="272" y="133"/>
                  <a:pt x="289" y="133"/>
                </a:cubicBezTo>
                <a:cubicBezTo>
                  <a:pt x="304" y="133"/>
                  <a:pt x="311" y="141"/>
                  <a:pt x="311" y="156"/>
                </a:cubicBezTo>
                <a:cubicBezTo>
                  <a:pt x="311" y="231"/>
                  <a:pt x="311" y="231"/>
                  <a:pt x="311" y="231"/>
                </a:cubicBezTo>
                <a:cubicBezTo>
                  <a:pt x="354" y="231"/>
                  <a:pt x="354" y="231"/>
                  <a:pt x="354" y="231"/>
                </a:cubicBezTo>
                <a:cubicBezTo>
                  <a:pt x="354" y="154"/>
                  <a:pt x="354" y="154"/>
                  <a:pt x="354" y="154"/>
                </a:cubicBezTo>
                <a:cubicBezTo>
                  <a:pt x="354" y="115"/>
                  <a:pt x="333" y="94"/>
                  <a:pt x="304" y="94"/>
                </a:cubicBezTo>
                <a:cubicBezTo>
                  <a:pt x="285" y="94"/>
                  <a:pt x="270" y="103"/>
                  <a:pt x="262" y="118"/>
                </a:cubicBezTo>
                <a:cubicBezTo>
                  <a:pt x="262" y="4"/>
                  <a:pt x="262" y="4"/>
                  <a:pt x="262" y="4"/>
                </a:cubicBezTo>
                <a:cubicBezTo>
                  <a:pt x="219" y="4"/>
                  <a:pt x="219" y="4"/>
                  <a:pt x="219" y="4"/>
                </a:cubicBezTo>
                <a:lnTo>
                  <a:pt x="219" y="231"/>
                </a:lnTo>
                <a:close/>
                <a:moveTo>
                  <a:pt x="68" y="170"/>
                </a:moveTo>
                <a:cubicBezTo>
                  <a:pt x="83" y="133"/>
                  <a:pt x="83" y="133"/>
                  <a:pt x="83" y="133"/>
                </a:cubicBezTo>
                <a:cubicBezTo>
                  <a:pt x="89" y="118"/>
                  <a:pt x="96" y="94"/>
                  <a:pt x="96" y="94"/>
                </a:cubicBezTo>
                <a:cubicBezTo>
                  <a:pt x="96" y="94"/>
                  <a:pt x="102" y="118"/>
                  <a:pt x="109" y="133"/>
                </a:cubicBezTo>
                <a:cubicBezTo>
                  <a:pt x="124" y="170"/>
                  <a:pt x="124" y="170"/>
                  <a:pt x="124" y="170"/>
                </a:cubicBezTo>
                <a:lnTo>
                  <a:pt x="68" y="170"/>
                </a:lnTo>
                <a:close/>
                <a:moveTo>
                  <a:pt x="0" y="231"/>
                </a:moveTo>
                <a:cubicBezTo>
                  <a:pt x="43" y="231"/>
                  <a:pt x="43" y="231"/>
                  <a:pt x="43" y="231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140" y="207"/>
                  <a:pt x="140" y="207"/>
                  <a:pt x="140" y="207"/>
                </a:cubicBezTo>
                <a:cubicBezTo>
                  <a:pt x="150" y="231"/>
                  <a:pt x="150" y="231"/>
                  <a:pt x="150" y="231"/>
                </a:cubicBezTo>
                <a:cubicBezTo>
                  <a:pt x="196" y="231"/>
                  <a:pt x="196" y="231"/>
                  <a:pt x="196" y="231"/>
                </a:cubicBezTo>
                <a:cubicBezTo>
                  <a:pt x="98" y="15"/>
                  <a:pt x="98" y="15"/>
                  <a:pt x="98" y="15"/>
                </a:cubicBezTo>
                <a:cubicBezTo>
                  <a:pt x="94" y="15"/>
                  <a:pt x="94" y="15"/>
                  <a:pt x="94" y="15"/>
                </a:cubicBezTo>
                <a:lnTo>
                  <a:pt x="0" y="231"/>
                </a:lnTo>
                <a:close/>
              </a:path>
            </a:pathLst>
          </a:custGeom>
          <a:solidFill>
            <a:srgbClr val="58595B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6" name="Subtitel"/>
          <p:cNvSpPr>
            <a:spLocks noGrp="1" noSelect="1"/>
          </p:cNvSpPr>
          <p:nvPr>
            <p:ph type="body" sz="quarter" idx="13" hasCustomPrompt="1"/>
          </p:nvPr>
        </p:nvSpPr>
        <p:spPr bwMode="gray">
          <a:xfrm>
            <a:off x="648072" y="2455675"/>
            <a:ext cx="6552000" cy="937321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9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9pPr>
          </a:lstStyle>
          <a:p>
            <a:pPr lvl="0"/>
            <a:r>
              <a:rPr lang="nl-NL"/>
              <a:t>[SUBTITEL MET EEN TEKST]</a:t>
            </a:r>
          </a:p>
        </p:txBody>
      </p:sp>
      <p:sp>
        <p:nvSpPr>
          <p:cNvPr id="2" name="***Titel 1"/>
          <p:cNvSpPr>
            <a:spLocks noGrp="1" noSelect="1"/>
          </p:cNvSpPr>
          <p:nvPr>
            <p:ph type="title" hasCustomPrompt="1"/>
          </p:nvPr>
        </p:nvSpPr>
        <p:spPr bwMode="gray">
          <a:xfrm>
            <a:off x="648000" y="592224"/>
            <a:ext cx="6552000" cy="1720651"/>
          </a:xfrm>
        </p:spPr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15" name="Text Placeholder 14 (PHJU)">
            <a:extLst>
              <a:ext uri="{FF2B5EF4-FFF2-40B4-BE49-F238E27FC236}">
                <a16:creationId xmlns:a16="http://schemas.microsoft.com/office/drawing/2014/main" id="{85E843CE-3CDF-4732-B2A7-BF73725A0638}"/>
              </a:ext>
            </a:extLst>
          </p:cNvPr>
          <p:cNvSpPr>
            <a:spLocks noGrp="1" noSelect="1" noChangeAspect="1"/>
          </p:cNvSpPr>
          <p:nvPr userDrawn="1">
            <p:ph type="body" idx="1003" hasCustomPrompt="1"/>
            <p:custDataLst>
              <p:custData r:id="rId4"/>
            </p:custDataLst>
          </p:nvPr>
        </p:nvSpPr>
        <p:spPr bwMode="auto">
          <a:xfrm>
            <a:off x="3683732" y="-3807804"/>
            <a:ext cx="13073469" cy="13074778"/>
          </a:xfrm>
          <a:custGeom>
            <a:avLst/>
            <a:gdLst>
              <a:gd name="connsiteX0" fmla="*/ 7853876 w 15827376"/>
              <a:gd name="connsiteY0" fmla="*/ 7741014 h 15828962"/>
              <a:gd name="connsiteX1" fmla="*/ 7854707 w 15827376"/>
              <a:gd name="connsiteY1" fmla="*/ 7743264 h 15828962"/>
              <a:gd name="connsiteX2" fmla="*/ 7854950 w 15827376"/>
              <a:gd name="connsiteY2" fmla="*/ 7743925 h 15828962"/>
              <a:gd name="connsiteX3" fmla="*/ 7744228 w 15827376"/>
              <a:gd name="connsiteY3" fmla="*/ 7443749 h 15828962"/>
              <a:gd name="connsiteX4" fmla="*/ 7764281 w 15827376"/>
              <a:gd name="connsiteY4" fmla="*/ 7498113 h 15828962"/>
              <a:gd name="connsiteX5" fmla="*/ 7853876 w 15827376"/>
              <a:gd name="connsiteY5" fmla="*/ 7741014 h 15828962"/>
              <a:gd name="connsiteX6" fmla="*/ 7853001 w 15827376"/>
              <a:gd name="connsiteY6" fmla="*/ 7738641 h 15828962"/>
              <a:gd name="connsiteX7" fmla="*/ 7752159 w 15827376"/>
              <a:gd name="connsiteY7" fmla="*/ 7465251 h 15828962"/>
              <a:gd name="connsiteX8" fmla="*/ 7556175 w 15827376"/>
              <a:gd name="connsiteY8" fmla="*/ 6933923 h 15828962"/>
              <a:gd name="connsiteX9" fmla="*/ 7572891 w 15827376"/>
              <a:gd name="connsiteY9" fmla="*/ 6979242 h 15828962"/>
              <a:gd name="connsiteX10" fmla="*/ 7730200 w 15827376"/>
              <a:gd name="connsiteY10" fmla="*/ 7405717 h 15828962"/>
              <a:gd name="connsiteX11" fmla="*/ 7744228 w 15827376"/>
              <a:gd name="connsiteY11" fmla="*/ 7443749 h 15828962"/>
              <a:gd name="connsiteX12" fmla="*/ 7679276 w 15827376"/>
              <a:gd name="connsiteY12" fmla="*/ 7267660 h 15828962"/>
              <a:gd name="connsiteX13" fmla="*/ 7599754 w 15827376"/>
              <a:gd name="connsiteY13" fmla="*/ 7052069 h 15828962"/>
              <a:gd name="connsiteX14" fmla="*/ 7505457 w 15827376"/>
              <a:gd name="connsiteY14" fmla="*/ 6796424 h 15828962"/>
              <a:gd name="connsiteX15" fmla="*/ 7525531 w 15827376"/>
              <a:gd name="connsiteY15" fmla="*/ 6850845 h 15828962"/>
              <a:gd name="connsiteX16" fmla="*/ 7556175 w 15827376"/>
              <a:gd name="connsiteY16" fmla="*/ 6933923 h 15828962"/>
              <a:gd name="connsiteX17" fmla="*/ 7530648 w 15827376"/>
              <a:gd name="connsiteY17" fmla="*/ 6864717 h 15828962"/>
              <a:gd name="connsiteX18" fmla="*/ 7452056 w 15827376"/>
              <a:gd name="connsiteY18" fmla="*/ 6651649 h 15828962"/>
              <a:gd name="connsiteX19" fmla="*/ 7484384 w 15827376"/>
              <a:gd name="connsiteY19" fmla="*/ 6739293 h 15828962"/>
              <a:gd name="connsiteX20" fmla="*/ 7505457 w 15827376"/>
              <a:gd name="connsiteY20" fmla="*/ 6796424 h 15828962"/>
              <a:gd name="connsiteX21" fmla="*/ 7456425 w 15827376"/>
              <a:gd name="connsiteY21" fmla="*/ 6663493 h 15828962"/>
              <a:gd name="connsiteX22" fmla="*/ 7259841 w 15827376"/>
              <a:gd name="connsiteY22" fmla="*/ 6130540 h 15828962"/>
              <a:gd name="connsiteX23" fmla="*/ 7277979 w 15827376"/>
              <a:gd name="connsiteY23" fmla="*/ 6179714 h 15828962"/>
              <a:gd name="connsiteX24" fmla="*/ 7392253 w 15827376"/>
              <a:gd name="connsiteY24" fmla="*/ 6489518 h 15828962"/>
              <a:gd name="connsiteX25" fmla="*/ 7452056 w 15827376"/>
              <a:gd name="connsiteY25" fmla="*/ 6651649 h 15828962"/>
              <a:gd name="connsiteX26" fmla="*/ 7433917 w 15827376"/>
              <a:gd name="connsiteY26" fmla="*/ 6602474 h 15828962"/>
              <a:gd name="connsiteX27" fmla="*/ 7319644 w 15827376"/>
              <a:gd name="connsiteY27" fmla="*/ 6292671 h 15828962"/>
              <a:gd name="connsiteX28" fmla="*/ 7206439 w 15827376"/>
              <a:gd name="connsiteY28" fmla="*/ 5985765 h 15828962"/>
              <a:gd name="connsiteX29" fmla="*/ 7255472 w 15827376"/>
              <a:gd name="connsiteY29" fmla="*/ 6118695 h 15828962"/>
              <a:gd name="connsiteX30" fmla="*/ 7259841 w 15827376"/>
              <a:gd name="connsiteY30" fmla="*/ 6130540 h 15828962"/>
              <a:gd name="connsiteX31" fmla="*/ 7227512 w 15827376"/>
              <a:gd name="connsiteY31" fmla="*/ 6042896 h 15828962"/>
              <a:gd name="connsiteX32" fmla="*/ 7155722 w 15827376"/>
              <a:gd name="connsiteY32" fmla="*/ 5848265 h 15828962"/>
              <a:gd name="connsiteX33" fmla="*/ 7181249 w 15827376"/>
              <a:gd name="connsiteY33" fmla="*/ 5917471 h 15828962"/>
              <a:gd name="connsiteX34" fmla="*/ 7206439 w 15827376"/>
              <a:gd name="connsiteY34" fmla="*/ 5985765 h 15828962"/>
              <a:gd name="connsiteX35" fmla="*/ 7186365 w 15827376"/>
              <a:gd name="connsiteY35" fmla="*/ 5931343 h 15828962"/>
              <a:gd name="connsiteX36" fmla="*/ 6967668 w 15827376"/>
              <a:gd name="connsiteY36" fmla="*/ 5338440 h 15828962"/>
              <a:gd name="connsiteX37" fmla="*/ 7032620 w 15827376"/>
              <a:gd name="connsiteY37" fmla="*/ 5514529 h 15828962"/>
              <a:gd name="connsiteX38" fmla="*/ 7112143 w 15827376"/>
              <a:gd name="connsiteY38" fmla="*/ 5730120 h 15828962"/>
              <a:gd name="connsiteX39" fmla="*/ 7155722 w 15827376"/>
              <a:gd name="connsiteY39" fmla="*/ 5848265 h 15828962"/>
              <a:gd name="connsiteX40" fmla="*/ 7139005 w 15827376"/>
              <a:gd name="connsiteY40" fmla="*/ 5802947 h 15828962"/>
              <a:gd name="connsiteX41" fmla="*/ 6981697 w 15827376"/>
              <a:gd name="connsiteY41" fmla="*/ 5376471 h 15828962"/>
              <a:gd name="connsiteX42" fmla="*/ 6858020 w 15827376"/>
              <a:gd name="connsiteY42" fmla="*/ 5041175 h 15828962"/>
              <a:gd name="connsiteX43" fmla="*/ 6858895 w 15827376"/>
              <a:gd name="connsiteY43" fmla="*/ 5043548 h 15828962"/>
              <a:gd name="connsiteX44" fmla="*/ 6959737 w 15827376"/>
              <a:gd name="connsiteY44" fmla="*/ 5316938 h 15828962"/>
              <a:gd name="connsiteX45" fmla="*/ 6967668 w 15827376"/>
              <a:gd name="connsiteY45" fmla="*/ 5338440 h 15828962"/>
              <a:gd name="connsiteX46" fmla="*/ 6947616 w 15827376"/>
              <a:gd name="connsiteY46" fmla="*/ 5284075 h 15828962"/>
              <a:gd name="connsiteX47" fmla="*/ 6856946 w 15827376"/>
              <a:gd name="connsiteY47" fmla="*/ 5038264 h 15828962"/>
              <a:gd name="connsiteX48" fmla="*/ 6858020 w 15827376"/>
              <a:gd name="connsiteY48" fmla="*/ 5041175 h 15828962"/>
              <a:gd name="connsiteX49" fmla="*/ 6857190 w 15827376"/>
              <a:gd name="connsiteY49" fmla="*/ 5038924 h 15828962"/>
              <a:gd name="connsiteX50" fmla="*/ 6856946 w 15827376"/>
              <a:gd name="connsiteY50" fmla="*/ 5038264 h 15828962"/>
              <a:gd name="connsiteX51" fmla="*/ 6857697 w 15827376"/>
              <a:gd name="connsiteY51" fmla="*/ 5037137 h 15828962"/>
              <a:gd name="connsiteX52" fmla="*/ 3956051 w 15827376"/>
              <a:gd name="connsiteY52" fmla="*/ 6080433 h 15828962"/>
              <a:gd name="connsiteX53" fmla="*/ 5012253 w 15827376"/>
              <a:gd name="connsiteY53" fmla="*/ 8947150 h 15828962"/>
              <a:gd name="connsiteX54" fmla="*/ 7673972 w 15827376"/>
              <a:gd name="connsiteY54" fmla="*/ 7990201 h 15828962"/>
              <a:gd name="connsiteX55" fmla="*/ 7740431 w 15827376"/>
              <a:gd name="connsiteY55" fmla="*/ 7966174 h 15828962"/>
              <a:gd name="connsiteX56" fmla="*/ 7749818 w 15827376"/>
              <a:gd name="connsiteY56" fmla="*/ 7838531 h 15828962"/>
              <a:gd name="connsiteX57" fmla="*/ 7852322 w 15827376"/>
              <a:gd name="connsiteY57" fmla="*/ 7745051 h 15828962"/>
              <a:gd name="connsiteX58" fmla="*/ 7854950 w 15827376"/>
              <a:gd name="connsiteY58" fmla="*/ 7743925 h 15828962"/>
              <a:gd name="connsiteX59" fmla="*/ 6857697 w 15827376"/>
              <a:gd name="connsiteY59" fmla="*/ 5037137 h 15828962"/>
              <a:gd name="connsiteX60" fmla="*/ 11604625 w 15827376"/>
              <a:gd name="connsiteY60" fmla="*/ 0 h 15828962"/>
              <a:gd name="connsiteX61" fmla="*/ 12660312 w 15827376"/>
              <a:gd name="connsiteY61" fmla="*/ 2901949 h 15828962"/>
              <a:gd name="connsiteX62" fmla="*/ 13716000 w 15827376"/>
              <a:gd name="connsiteY62" fmla="*/ 5802312 h 15828962"/>
              <a:gd name="connsiteX63" fmla="*/ 14771688 w 15827376"/>
              <a:gd name="connsiteY63" fmla="*/ 8704262 h 15828962"/>
              <a:gd name="connsiteX64" fmla="*/ 15827376 w 15827376"/>
              <a:gd name="connsiteY64" fmla="*/ 11604624 h 15828962"/>
              <a:gd name="connsiteX65" fmla="*/ 12927012 w 15827376"/>
              <a:gd name="connsiteY65" fmla="*/ 12660312 h 15828962"/>
              <a:gd name="connsiteX66" fmla="*/ 10025062 w 15827376"/>
              <a:gd name="connsiteY66" fmla="*/ 13715999 h 15828962"/>
              <a:gd name="connsiteX67" fmla="*/ 7124700 w 15827376"/>
              <a:gd name="connsiteY67" fmla="*/ 14773274 h 15828962"/>
              <a:gd name="connsiteX68" fmla="*/ 4222751 w 15827376"/>
              <a:gd name="connsiteY68" fmla="*/ 15828962 h 15828962"/>
              <a:gd name="connsiteX69" fmla="*/ 3167063 w 15827376"/>
              <a:gd name="connsiteY69" fmla="*/ 12927012 h 15828962"/>
              <a:gd name="connsiteX70" fmla="*/ 2111376 w 15827376"/>
              <a:gd name="connsiteY70" fmla="*/ 10026649 h 15828962"/>
              <a:gd name="connsiteX71" fmla="*/ 1055688 w 15827376"/>
              <a:gd name="connsiteY71" fmla="*/ 7124699 h 15828962"/>
              <a:gd name="connsiteX72" fmla="*/ 0 w 15827376"/>
              <a:gd name="connsiteY72" fmla="*/ 4224337 h 15828962"/>
              <a:gd name="connsiteX73" fmla="*/ 2900363 w 15827376"/>
              <a:gd name="connsiteY73" fmla="*/ 3168649 h 15828962"/>
              <a:gd name="connsiteX74" fmla="*/ 5802312 w 15827376"/>
              <a:gd name="connsiteY74" fmla="*/ 2111374 h 15828962"/>
              <a:gd name="connsiteX75" fmla="*/ 8702675 w 15827376"/>
              <a:gd name="connsiteY75" fmla="*/ 1055687 h 15828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15827376" h="15828962">
                <a:moveTo>
                  <a:pt x="7853876" y="7741014"/>
                </a:moveTo>
                <a:lnTo>
                  <a:pt x="7854707" y="7743264"/>
                </a:lnTo>
                <a:cubicBezTo>
                  <a:pt x="7854950" y="7743925"/>
                  <a:pt x="7854950" y="7743925"/>
                  <a:pt x="7854950" y="7743925"/>
                </a:cubicBezTo>
                <a:close/>
                <a:moveTo>
                  <a:pt x="7744228" y="7443749"/>
                </a:moveTo>
                <a:lnTo>
                  <a:pt x="7764281" y="7498113"/>
                </a:lnTo>
                <a:lnTo>
                  <a:pt x="7853876" y="7741014"/>
                </a:lnTo>
                <a:lnTo>
                  <a:pt x="7853001" y="7738641"/>
                </a:lnTo>
                <a:cubicBezTo>
                  <a:pt x="7847641" y="7724108"/>
                  <a:pt x="7827539" y="7669612"/>
                  <a:pt x="7752159" y="7465251"/>
                </a:cubicBezTo>
                <a:close/>
                <a:moveTo>
                  <a:pt x="7556175" y="6933923"/>
                </a:moveTo>
                <a:lnTo>
                  <a:pt x="7572891" y="6979242"/>
                </a:lnTo>
                <a:cubicBezTo>
                  <a:pt x="7640048" y="7161309"/>
                  <a:pt x="7691215" y="7300027"/>
                  <a:pt x="7730200" y="7405717"/>
                </a:cubicBezTo>
                <a:lnTo>
                  <a:pt x="7744228" y="7443749"/>
                </a:lnTo>
                <a:lnTo>
                  <a:pt x="7679276" y="7267660"/>
                </a:lnTo>
                <a:cubicBezTo>
                  <a:pt x="7651865" y="7193347"/>
                  <a:pt x="7625368" y="7121511"/>
                  <a:pt x="7599754" y="7052069"/>
                </a:cubicBezTo>
                <a:close/>
                <a:moveTo>
                  <a:pt x="7505457" y="6796424"/>
                </a:moveTo>
                <a:lnTo>
                  <a:pt x="7525531" y="6850845"/>
                </a:lnTo>
                <a:lnTo>
                  <a:pt x="7556175" y="6933923"/>
                </a:lnTo>
                <a:lnTo>
                  <a:pt x="7530648" y="6864717"/>
                </a:lnTo>
                <a:close/>
                <a:moveTo>
                  <a:pt x="7452056" y="6651649"/>
                </a:moveTo>
                <a:lnTo>
                  <a:pt x="7484384" y="6739293"/>
                </a:lnTo>
                <a:lnTo>
                  <a:pt x="7505457" y="6796424"/>
                </a:lnTo>
                <a:lnTo>
                  <a:pt x="7456425" y="6663493"/>
                </a:lnTo>
                <a:close/>
                <a:moveTo>
                  <a:pt x="7259841" y="6130540"/>
                </a:moveTo>
                <a:lnTo>
                  <a:pt x="7277979" y="6179714"/>
                </a:lnTo>
                <a:cubicBezTo>
                  <a:pt x="7313065" y="6274835"/>
                  <a:pt x="7351075" y="6377883"/>
                  <a:pt x="7392253" y="6489518"/>
                </a:cubicBezTo>
                <a:lnTo>
                  <a:pt x="7452056" y="6651649"/>
                </a:lnTo>
                <a:lnTo>
                  <a:pt x="7433917" y="6602474"/>
                </a:lnTo>
                <a:cubicBezTo>
                  <a:pt x="7398831" y="6507353"/>
                  <a:pt x="7360821" y="6404305"/>
                  <a:pt x="7319644" y="6292671"/>
                </a:cubicBezTo>
                <a:close/>
                <a:moveTo>
                  <a:pt x="7206439" y="5985765"/>
                </a:moveTo>
                <a:lnTo>
                  <a:pt x="7255472" y="6118695"/>
                </a:lnTo>
                <a:lnTo>
                  <a:pt x="7259841" y="6130540"/>
                </a:lnTo>
                <a:lnTo>
                  <a:pt x="7227512" y="6042896"/>
                </a:lnTo>
                <a:close/>
                <a:moveTo>
                  <a:pt x="7155722" y="5848265"/>
                </a:moveTo>
                <a:lnTo>
                  <a:pt x="7181249" y="5917471"/>
                </a:lnTo>
                <a:lnTo>
                  <a:pt x="7206439" y="5985765"/>
                </a:lnTo>
                <a:lnTo>
                  <a:pt x="7186365" y="5931343"/>
                </a:lnTo>
                <a:close/>
                <a:moveTo>
                  <a:pt x="6967668" y="5338440"/>
                </a:moveTo>
                <a:lnTo>
                  <a:pt x="7032620" y="5514529"/>
                </a:lnTo>
                <a:cubicBezTo>
                  <a:pt x="7060031" y="5588842"/>
                  <a:pt x="7086528" y="5660678"/>
                  <a:pt x="7112143" y="5730120"/>
                </a:cubicBezTo>
                <a:lnTo>
                  <a:pt x="7155722" y="5848265"/>
                </a:lnTo>
                <a:lnTo>
                  <a:pt x="7139005" y="5802947"/>
                </a:lnTo>
                <a:cubicBezTo>
                  <a:pt x="7071848" y="5620879"/>
                  <a:pt x="7020681" y="5482161"/>
                  <a:pt x="6981697" y="5376471"/>
                </a:cubicBezTo>
                <a:close/>
                <a:moveTo>
                  <a:pt x="6858020" y="5041175"/>
                </a:moveTo>
                <a:lnTo>
                  <a:pt x="6858895" y="5043548"/>
                </a:lnTo>
                <a:cubicBezTo>
                  <a:pt x="6864256" y="5058080"/>
                  <a:pt x="6884357" y="5112577"/>
                  <a:pt x="6959737" y="5316938"/>
                </a:cubicBezTo>
                <a:lnTo>
                  <a:pt x="6967668" y="5338440"/>
                </a:lnTo>
                <a:lnTo>
                  <a:pt x="6947616" y="5284075"/>
                </a:lnTo>
                <a:close/>
                <a:moveTo>
                  <a:pt x="6856946" y="5038264"/>
                </a:moveTo>
                <a:lnTo>
                  <a:pt x="6858020" y="5041175"/>
                </a:lnTo>
                <a:lnTo>
                  <a:pt x="6857190" y="5038924"/>
                </a:lnTo>
                <a:cubicBezTo>
                  <a:pt x="6856946" y="5038264"/>
                  <a:pt x="6856946" y="5038264"/>
                  <a:pt x="6856946" y="5038264"/>
                </a:cubicBezTo>
                <a:close/>
                <a:moveTo>
                  <a:pt x="6857697" y="5037137"/>
                </a:moveTo>
                <a:cubicBezTo>
                  <a:pt x="3956051" y="6080433"/>
                  <a:pt x="3956051" y="6080433"/>
                  <a:pt x="3956051" y="6080433"/>
                </a:cubicBezTo>
                <a:cubicBezTo>
                  <a:pt x="5012253" y="8947150"/>
                  <a:pt x="5012253" y="8947150"/>
                  <a:pt x="5012253" y="8947150"/>
                </a:cubicBezTo>
                <a:cubicBezTo>
                  <a:pt x="7673972" y="7990201"/>
                  <a:pt x="7673972" y="7990201"/>
                  <a:pt x="7673972" y="7990201"/>
                </a:cubicBezTo>
                <a:cubicBezTo>
                  <a:pt x="7740431" y="7966174"/>
                  <a:pt x="7740431" y="7966174"/>
                  <a:pt x="7740431" y="7966174"/>
                </a:cubicBezTo>
                <a:cubicBezTo>
                  <a:pt x="7728040" y="7923752"/>
                  <a:pt x="7731044" y="7879077"/>
                  <a:pt x="7749818" y="7838531"/>
                </a:cubicBezTo>
                <a:cubicBezTo>
                  <a:pt x="7770469" y="7794607"/>
                  <a:pt x="7806514" y="7761570"/>
                  <a:pt x="7852322" y="7745051"/>
                </a:cubicBezTo>
                <a:cubicBezTo>
                  <a:pt x="7853073" y="7744676"/>
                  <a:pt x="7854199" y="7744300"/>
                  <a:pt x="7854950" y="7743925"/>
                </a:cubicBezTo>
                <a:cubicBezTo>
                  <a:pt x="6857697" y="5037137"/>
                  <a:pt x="6857697" y="5037137"/>
                  <a:pt x="6857697" y="5037137"/>
                </a:cubicBezTo>
                <a:close/>
                <a:moveTo>
                  <a:pt x="11604625" y="0"/>
                </a:moveTo>
                <a:lnTo>
                  <a:pt x="12660312" y="2901949"/>
                </a:lnTo>
                <a:lnTo>
                  <a:pt x="13716000" y="5802312"/>
                </a:lnTo>
                <a:lnTo>
                  <a:pt x="14771688" y="8704262"/>
                </a:lnTo>
                <a:lnTo>
                  <a:pt x="15827376" y="11604624"/>
                </a:lnTo>
                <a:lnTo>
                  <a:pt x="12927012" y="12660312"/>
                </a:lnTo>
                <a:lnTo>
                  <a:pt x="10025062" y="13715999"/>
                </a:lnTo>
                <a:lnTo>
                  <a:pt x="7124700" y="14773274"/>
                </a:lnTo>
                <a:lnTo>
                  <a:pt x="4222751" y="15828962"/>
                </a:lnTo>
                <a:lnTo>
                  <a:pt x="3167063" y="12927012"/>
                </a:lnTo>
                <a:lnTo>
                  <a:pt x="2111376" y="10026649"/>
                </a:lnTo>
                <a:lnTo>
                  <a:pt x="1055688" y="7124699"/>
                </a:lnTo>
                <a:lnTo>
                  <a:pt x="0" y="4224337"/>
                </a:lnTo>
                <a:lnTo>
                  <a:pt x="2900363" y="3168649"/>
                </a:lnTo>
                <a:lnTo>
                  <a:pt x="5802312" y="2111374"/>
                </a:lnTo>
                <a:lnTo>
                  <a:pt x="8702675" y="1055687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45F5BF-8405-4DFF-BE3D-F7FB616786C2}"/>
              </a:ext>
            </a:extLst>
          </p:cNvPr>
          <p:cNvSpPr>
            <a:spLocks noGrp="1" noSelect="1"/>
          </p:cNvSpPr>
          <p:nvPr>
            <p:ph type="body" sz="quarter" idx="1004" hasCustomPrompt="1"/>
          </p:nvPr>
        </p:nvSpPr>
        <p:spPr>
          <a:xfrm>
            <a:off x="-2689583" y="592224"/>
            <a:ext cx="2628899" cy="172065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Het </a:t>
            </a:r>
            <a:r>
              <a:rPr lang="nl-NL" err="1"/>
              <a:t>titelvak</a:t>
            </a:r>
            <a:r>
              <a:rPr lang="nl-NL"/>
              <a:t> is opgemaakt in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Om woorden te accentueren: kies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</a:t>
            </a:r>
            <a:r>
              <a:rPr lang="nl-NL" err="1"/>
              <a:t>bold</a:t>
            </a:r>
            <a:endParaRPr lang="nl-NL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79C40FC-0743-432B-8451-30B246320A69}"/>
              </a:ext>
            </a:extLst>
          </p:cNvPr>
          <p:cNvSpPr>
            <a:spLocks noGrp="1" noSelect="1"/>
          </p:cNvSpPr>
          <p:nvPr>
            <p:ph type="body" sz="quarter" idx="1006" hasCustomPrompt="1"/>
          </p:nvPr>
        </p:nvSpPr>
        <p:spPr>
          <a:xfrm>
            <a:off x="12324085" y="592224"/>
            <a:ext cx="2628899" cy="2577208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Bovenop het </a:t>
            </a:r>
            <a:r>
              <a:rPr lang="nl-NL" err="1"/>
              <a:t>fotovak</a:t>
            </a:r>
            <a:r>
              <a:rPr lang="nl-NL"/>
              <a:t> staat een raster, dat je naar wens mag verplaatsen, zodat het gat goed uitkomt op de foto.</a:t>
            </a:r>
            <a:br>
              <a:rPr lang="nl-NL"/>
            </a:br>
            <a:r>
              <a:rPr lang="nl-NL"/>
              <a:t>Klik 1 keer op het raster, verplaats het dan met de pijltjes toetsen.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C9E3ABD-90CC-2E4B-8225-682620539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57644" y="6335897"/>
            <a:ext cx="517982" cy="252000"/>
          </a:xfrm>
        </p:spPr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70ED2D-A80C-C446-B9DB-E22103D42518}"/>
              </a:ext>
            </a:extLst>
          </p:cNvPr>
          <p:cNvSpPr>
            <a:spLocks noGrp="1"/>
          </p:cNvSpPr>
          <p:nvPr>
            <p:ph type="body" sz="quarter" idx="1008" hasCustomPrompt="1"/>
          </p:nvPr>
        </p:nvSpPr>
        <p:spPr>
          <a:xfrm>
            <a:off x="647999" y="2802704"/>
            <a:ext cx="6564887" cy="2347520"/>
          </a:xfrm>
        </p:spPr>
        <p:txBody>
          <a:bodyPr/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[Type </a:t>
            </a:r>
            <a:r>
              <a:rPr lang="en-GB" err="1"/>
              <a:t>hier</a:t>
            </a:r>
            <a:r>
              <a:rPr lang="en-GB"/>
              <a:t> je </a:t>
            </a:r>
            <a:r>
              <a:rPr lang="en-GB" err="1"/>
              <a:t>tekst</a:t>
            </a:r>
            <a:r>
              <a:rPr lang="en-GB"/>
              <a:t>]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766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8A21B2-A60F-4D96-A540-A1C8A7FD6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EC722E-EBBA-4EB2-AC3D-305057D610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5D8B2D-0850-41A1-AB29-86218CAA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A450C-7950-46B1-84D5-FEAD34AE9084}" type="datetimeFigureOut">
              <a:rPr lang="nl-BE" smtClean="0"/>
              <a:t>28/06/2023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719C3-0E9B-4CAB-8A1A-E511E2D1C3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86EEE-A63E-4421-B66D-C6B36986B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D847C-C929-4965-B2F3-C4079158C636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38326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84200" y="1599722"/>
            <a:ext cx="3490176" cy="309939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545447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4927922"/>
            <a:ext cx="3490176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200" b="0" kern="1200" spc="0" baseline="0" dirty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2/14</a:t>
            </a:r>
          </a:p>
          <a:p>
            <a:pPr lvl="1"/>
            <a:r>
              <a:rPr lang="en-US"/>
              <a:t>Body copy Segoe Regular 12/14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465305" cy="1182568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765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0" kern="1200" spc="0" baseline="0" dirty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2/14</a:t>
            </a:r>
          </a:p>
          <a:p>
            <a:pPr lvl="1"/>
            <a:r>
              <a:rPr lang="en-US"/>
              <a:t>Body copy Segoe Regular 12/14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03151" y="1599722"/>
            <a:ext cx="3618381" cy="3099393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44083" y="1599722"/>
            <a:ext cx="3465305" cy="3099394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1" y="4927922"/>
            <a:ext cx="3618381" cy="1182568"/>
          </a:xfrm>
        </p:spPr>
        <p:txBody>
          <a:bodyPr lIns="0" tIns="0" rIns="0" bIns="0"/>
          <a:lstStyle>
            <a:lvl1pPr marL="0" marR="0" indent="0" algn="l" defTabSz="932742" rtl="0" eaLnBrk="1" fontAlgn="auto" latinLnBrk="0" hangingPunct="1">
              <a:lnSpc>
                <a:spcPts val="1765"/>
              </a:lnSpc>
              <a:spcBef>
                <a:spcPts val="12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200" b="0" kern="1200" spc="0" baseline="0" dirty="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200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>
                <a:solidFill>
                  <a:schemeClr val="tx2"/>
                </a:solidFill>
                <a:latin typeface="+mj-lt"/>
              </a:rPr>
              <a:t> 12/14</a:t>
            </a:r>
          </a:p>
          <a:p>
            <a:pPr lvl="1"/>
            <a:r>
              <a:rPr lang="en-US"/>
              <a:t>Body copy Segoe Regular 12/14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1" name="Footer Placeholder 14">
            <a:extLst>
              <a:ext uri="{FF2B5EF4-FFF2-40B4-BE49-F238E27FC236}">
                <a16:creationId xmlns:a16="http://schemas.microsoft.com/office/drawing/2014/main" id="{AE158E7B-0220-41AE-9E99-77C380735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rgbClr val="000000"/>
                </a:solidFill>
              </a:defRPr>
            </a:lvl1pPr>
          </a:lstStyle>
          <a:p>
            <a:r>
              <a:rPr lang="en-US"/>
              <a:t>© Microsoft Corporation                                                                                  								                      Microsoft 365 </a:t>
            </a:r>
          </a:p>
        </p:txBody>
      </p:sp>
    </p:spTree>
    <p:extLst>
      <p:ext uri="{BB962C8B-B14F-4D97-AF65-F5344CB8AC3E}">
        <p14:creationId xmlns:p14="http://schemas.microsoft.com/office/powerpoint/2010/main" val="38443783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119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3532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74022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238424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926127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87C5D9-B2DC-4059-8708-1D313C564E74}"/>
              </a:ext>
            </a:extLst>
          </p:cNvPr>
          <p:cNvSpPr txBox="1"/>
          <p:nvPr userDrawn="1"/>
        </p:nvSpPr>
        <p:spPr>
          <a:xfrm>
            <a:off x="11396777" y="6242392"/>
            <a:ext cx="545937" cy="452654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fld id="{E7120693-14FB-4AE0-B810-C40C95E65A35}" type="slidenum">
              <a:rPr lang="en-US" sz="1176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1176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66636432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k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dianummer 10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3" name="Tijdelijke aanduiding voor inhoud 2"/>
          <p:cNvSpPr>
            <a:spLocks noGrp="1" noSelect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pPr lvl="0"/>
            <a:r>
              <a:rPr lang="nl-NL" noProof="1"/>
              <a:t>[Typ tekst of klik op een pictogram om een object in te voegen]</a:t>
            </a:r>
          </a:p>
        </p:txBody>
      </p:sp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B7E96DC-A131-48B1-9942-00ABE0143E31}"/>
              </a:ext>
            </a:extLst>
          </p:cNvPr>
          <p:cNvSpPr>
            <a:spLocks noGrp="1" noSelect="1"/>
          </p:cNvSpPr>
          <p:nvPr>
            <p:ph type="body" sz="quarter" idx="1004" hasCustomPrompt="1"/>
          </p:nvPr>
        </p:nvSpPr>
        <p:spPr>
          <a:xfrm>
            <a:off x="-2689583" y="592224"/>
            <a:ext cx="2628899" cy="172065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Het </a:t>
            </a:r>
            <a:r>
              <a:rPr lang="nl-NL" err="1"/>
              <a:t>titelvak</a:t>
            </a:r>
            <a:r>
              <a:rPr lang="nl-NL"/>
              <a:t> is opgemaakt in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Om woorden te accentueren: kies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</a:t>
            </a:r>
            <a:r>
              <a:rPr lang="nl-NL" err="1"/>
              <a:t>bold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73172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tekst (3-kolo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FCA3D2-B173-8B46-AFB8-55CDB547C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1485A9C4-AC67-1A49-BD6D-8BCB6126E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11027626" cy="449275"/>
          </a:xfrm>
        </p:spPr>
        <p:txBody>
          <a:bodyPr/>
          <a:lstStyle>
            <a:lvl1pPr>
              <a:defRPr b="1" i="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nl-NL" sz="3600"/>
              <a:t>Titel</a:t>
            </a:r>
            <a:endParaRPr lang="nl-NL" sz="3600" b="1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2CC8B5D-783C-F642-9CD8-B01CC1E750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C15EB2B-9840-B845-A1E8-38B2A6E37B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1909332"/>
            <a:ext cx="11028363" cy="3819525"/>
          </a:xfrm>
        </p:spPr>
        <p:txBody>
          <a:bodyPr numCol="3" spcCol="360000"/>
          <a:lstStyle>
            <a:lvl1pPr marL="0" indent="0">
              <a:buNone/>
              <a:defRPr sz="1400"/>
            </a:lvl1pPr>
          </a:lstStyle>
          <a:p>
            <a:pPr lvl="0"/>
            <a:r>
              <a:rPr lang="nl-NL"/>
              <a:t>[Tekst (3-kolomsindeling)]</a:t>
            </a:r>
          </a:p>
        </p:txBody>
      </p:sp>
    </p:spTree>
    <p:extLst>
      <p:ext uri="{BB962C8B-B14F-4D97-AF65-F5344CB8AC3E}">
        <p14:creationId xmlns:p14="http://schemas.microsoft.com/office/powerpoint/2010/main" val="6594863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 en afbeelding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6086C1A-645E-C94B-8F4B-0CAF8FB1B8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1568858"/>
            <a:ext cx="58680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27FECC-6F22-D644-9BBD-26A0D61BA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ABA79496-005A-2B40-A7FB-81D80E7DB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5868000" cy="976633"/>
          </a:xfrm>
        </p:spPr>
        <p:txBody>
          <a:bodyPr/>
          <a:lstStyle/>
          <a:p>
            <a:r>
              <a:rPr lang="nl-NL" sz="3600"/>
              <a:t>Tekst pagina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Met foto rechts</a:t>
            </a:r>
            <a:endParaRPr lang="nl-NL" sz="3600"/>
          </a:p>
        </p:txBody>
      </p:sp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D770A0AC-705F-2842-9598-F0BD283A57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061223"/>
            <a:ext cx="5867700" cy="3831577"/>
          </a:xfrm>
        </p:spPr>
        <p:txBody>
          <a:bodyPr/>
          <a:lstStyle/>
          <a:p>
            <a:pPr marL="0" indent="0">
              <a:buNone/>
            </a:pPr>
            <a:r>
              <a:rPr lang="nl-NL" sz="1400"/>
              <a:t>[Type hier je tekst]</a:t>
            </a:r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B16E6472-28B5-EC44-80F4-DE4A00291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49598" y="0"/>
            <a:ext cx="5342401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[Klik op het pictogram om een afbeelding in te voegen]</a:t>
            </a:r>
          </a:p>
        </p:txBody>
      </p:sp>
    </p:spTree>
    <p:extLst>
      <p:ext uri="{BB962C8B-B14F-4D97-AF65-F5344CB8AC3E}">
        <p14:creationId xmlns:p14="http://schemas.microsoft.com/office/powerpoint/2010/main" val="2440599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dia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7"/>
          <p:cNvSpPr>
            <a:spLocks noGrp="1" noSelect="1"/>
          </p:cNvSpPr>
          <p:nvPr>
            <p:ph type="pic" sz="quarter" idx="14" hasCustomPrompt="1"/>
          </p:nvPr>
        </p:nvSpPr>
        <p:spPr bwMode="gray">
          <a:xfrm>
            <a:off x="0" y="0"/>
            <a:ext cx="6858000" cy="6858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nl-NL"/>
              <a:t>[Klik op het pictogram om een foto in te voegen]</a:t>
            </a:r>
          </a:p>
        </p:txBody>
      </p:sp>
      <p:sp>
        <p:nvSpPr>
          <p:cNvPr id="7" name="Logo achtergrond (PHJU)"/>
          <p:cNvSpPr>
            <a:spLocks noGrp="1" noSelect="1"/>
          </p:cNvSpPr>
          <p:nvPr>
            <p:ph type="body" idx="1002" hasCustomPrompt="1"/>
            <p:custDataLst>
              <p:custData r:id="rId1"/>
            </p:custDataLst>
          </p:nvPr>
        </p:nvSpPr>
        <p:spPr bwMode="gray">
          <a:xfrm>
            <a:off x="-12815" y="6106308"/>
            <a:ext cx="1386154" cy="305949"/>
          </a:xfrm>
          <a:custGeom>
            <a:avLst/>
            <a:gdLst>
              <a:gd name="T0" fmla="*/ 172 w 1255"/>
              <a:gd name="T1" fmla="*/ 56 h 277"/>
              <a:gd name="T2" fmla="*/ 0 w 1255"/>
              <a:gd name="T3" fmla="*/ 56 h 277"/>
              <a:gd name="T4" fmla="*/ 0 w 1255"/>
              <a:gd name="T5" fmla="*/ 221 h 277"/>
              <a:gd name="T6" fmla="*/ 176 w 1255"/>
              <a:gd name="T7" fmla="*/ 221 h 277"/>
              <a:gd name="T8" fmla="*/ 196 w 1255"/>
              <a:gd name="T9" fmla="*/ 277 h 277"/>
              <a:gd name="T10" fmla="*/ 350 w 1255"/>
              <a:gd name="T11" fmla="*/ 221 h 277"/>
              <a:gd name="T12" fmla="*/ 1255 w 1255"/>
              <a:gd name="T13" fmla="*/ 221 h 277"/>
              <a:gd name="T14" fmla="*/ 1255 w 1255"/>
              <a:gd name="T15" fmla="*/ 56 h 277"/>
              <a:gd name="T16" fmla="*/ 346 w 1255"/>
              <a:gd name="T17" fmla="*/ 56 h 277"/>
              <a:gd name="T18" fmla="*/ 326 w 1255"/>
              <a:gd name="T19" fmla="*/ 0 h 277"/>
              <a:gd name="T20" fmla="*/ 172 w 1255"/>
              <a:gd name="T21" fmla="*/ 5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5" h="277">
                <a:moveTo>
                  <a:pt x="172" y="56"/>
                </a:moveTo>
                <a:lnTo>
                  <a:pt x="0" y="56"/>
                </a:lnTo>
                <a:lnTo>
                  <a:pt x="0" y="221"/>
                </a:lnTo>
                <a:lnTo>
                  <a:pt x="176" y="221"/>
                </a:lnTo>
                <a:lnTo>
                  <a:pt x="196" y="277"/>
                </a:lnTo>
                <a:lnTo>
                  <a:pt x="350" y="221"/>
                </a:lnTo>
                <a:lnTo>
                  <a:pt x="1255" y="221"/>
                </a:lnTo>
                <a:lnTo>
                  <a:pt x="1255" y="56"/>
                </a:lnTo>
                <a:lnTo>
                  <a:pt x="346" y="56"/>
                </a:lnTo>
                <a:lnTo>
                  <a:pt x="326" y="0"/>
                </a:lnTo>
                <a:lnTo>
                  <a:pt x="172" y="56"/>
                </a:lnTo>
                <a:close/>
              </a:path>
            </a:pathLst>
          </a:custGeom>
          <a:solidFill>
            <a:srgbClr val="F58220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9" name="Logo tekst (PHJU)"/>
          <p:cNvSpPr>
            <a:spLocks noGrp="1" noSelect="1"/>
          </p:cNvSpPr>
          <p:nvPr>
            <p:ph type="body" idx="1001" hasCustomPrompt="1"/>
            <p:custDataLst>
              <p:custData r:id="rId2"/>
            </p:custDataLst>
          </p:nvPr>
        </p:nvSpPr>
        <p:spPr bwMode="gray">
          <a:xfrm>
            <a:off x="166115" y="6136130"/>
            <a:ext cx="1065847" cy="236365"/>
          </a:xfrm>
          <a:custGeom>
            <a:avLst/>
            <a:gdLst>
              <a:gd name="T0" fmla="*/ 12 w 1930"/>
              <a:gd name="T1" fmla="*/ 292 h 428"/>
              <a:gd name="T2" fmla="*/ 1064 w 1930"/>
              <a:gd name="T3" fmla="*/ 223 h 428"/>
              <a:gd name="T4" fmla="*/ 821 w 1930"/>
              <a:gd name="T5" fmla="*/ 366 h 428"/>
              <a:gd name="T6" fmla="*/ 916 w 1930"/>
              <a:gd name="T7" fmla="*/ 83 h 428"/>
              <a:gd name="T8" fmla="*/ 1011 w 1930"/>
              <a:gd name="T9" fmla="*/ 220 h 428"/>
              <a:gd name="T10" fmla="*/ 874 w 1930"/>
              <a:gd name="T11" fmla="*/ 128 h 428"/>
              <a:gd name="T12" fmla="*/ 907 w 1930"/>
              <a:gd name="T13" fmla="*/ 321 h 428"/>
              <a:gd name="T14" fmla="*/ 1170 w 1930"/>
              <a:gd name="T15" fmla="*/ 366 h 428"/>
              <a:gd name="T16" fmla="*/ 1226 w 1930"/>
              <a:gd name="T17" fmla="*/ 83 h 428"/>
              <a:gd name="T18" fmla="*/ 1170 w 1930"/>
              <a:gd name="T19" fmla="*/ 366 h 428"/>
              <a:gd name="T20" fmla="*/ 1394 w 1930"/>
              <a:gd name="T21" fmla="*/ 75 h 428"/>
              <a:gd name="T22" fmla="*/ 1343 w 1930"/>
              <a:gd name="T23" fmla="*/ 366 h 428"/>
              <a:gd name="T24" fmla="*/ 1391 w 1930"/>
              <a:gd name="T25" fmla="*/ 156 h 428"/>
              <a:gd name="T26" fmla="*/ 1522 w 1930"/>
              <a:gd name="T27" fmla="*/ 371 h 428"/>
              <a:gd name="T28" fmla="*/ 1578 w 1930"/>
              <a:gd name="T29" fmla="*/ 83 h 428"/>
              <a:gd name="T30" fmla="*/ 1528 w 1930"/>
              <a:gd name="T31" fmla="*/ 293 h 428"/>
              <a:gd name="T32" fmla="*/ 1880 w 1930"/>
              <a:gd name="T33" fmla="*/ 371 h 428"/>
              <a:gd name="T34" fmla="*/ 1754 w 1930"/>
              <a:gd name="T35" fmla="*/ 290 h 428"/>
              <a:gd name="T36" fmla="*/ 1673 w 1930"/>
              <a:gd name="T37" fmla="*/ 355 h 428"/>
              <a:gd name="T38" fmla="*/ 1830 w 1930"/>
              <a:gd name="T39" fmla="*/ 83 h 428"/>
              <a:gd name="T40" fmla="*/ 1838 w 1930"/>
              <a:gd name="T41" fmla="*/ 248 h 428"/>
              <a:gd name="T42" fmla="*/ 1768 w 1930"/>
              <a:gd name="T43" fmla="*/ 248 h 428"/>
              <a:gd name="T44" fmla="*/ 13 w 1930"/>
              <a:gd name="T45" fmla="*/ 292 h 428"/>
              <a:gd name="T46" fmla="*/ 13 w 1930"/>
              <a:gd name="T47" fmla="*/ 292 h 428"/>
              <a:gd name="T48" fmla="*/ 378 w 1930"/>
              <a:gd name="T49" fmla="*/ 308 h 428"/>
              <a:gd name="T50" fmla="*/ 114 w 1930"/>
              <a:gd name="T51" fmla="*/ 403 h 428"/>
              <a:gd name="T52" fmla="*/ 0 w 1930"/>
              <a:gd name="T53" fmla="*/ 223 h 428"/>
              <a:gd name="T54" fmla="*/ 131 w 1930"/>
              <a:gd name="T55" fmla="*/ 36 h 428"/>
              <a:gd name="T56" fmla="*/ 329 w 1930"/>
              <a:gd name="T57" fmla="*/ 174 h 428"/>
              <a:gd name="T58" fmla="*/ 72 w 1930"/>
              <a:gd name="T59" fmla="*/ 165 h 428"/>
              <a:gd name="T60" fmla="*/ 68 w 1930"/>
              <a:gd name="T61" fmla="*/ 272 h 428"/>
              <a:gd name="T62" fmla="*/ 246 w 1930"/>
              <a:gd name="T63" fmla="*/ 355 h 428"/>
              <a:gd name="T64" fmla="*/ 329 w 1930"/>
              <a:gd name="T65" fmla="*/ 174 h 428"/>
              <a:gd name="T66" fmla="*/ 734 w 1930"/>
              <a:gd name="T67" fmla="*/ 352 h 428"/>
              <a:gd name="T68" fmla="*/ 602 w 1930"/>
              <a:gd name="T69" fmla="*/ 262 h 428"/>
              <a:gd name="T70" fmla="*/ 566 w 1930"/>
              <a:gd name="T71" fmla="*/ 251 h 428"/>
              <a:gd name="T72" fmla="*/ 513 w 1930"/>
              <a:gd name="T73" fmla="*/ 366 h 428"/>
              <a:gd name="T74" fmla="*/ 605 w 1930"/>
              <a:gd name="T75" fmla="*/ 83 h 428"/>
              <a:gd name="T76" fmla="*/ 647 w 1930"/>
              <a:gd name="T77" fmla="*/ 237 h 428"/>
              <a:gd name="T78" fmla="*/ 600 w 1930"/>
              <a:gd name="T79" fmla="*/ 125 h 428"/>
              <a:gd name="T80" fmla="*/ 569 w 1930"/>
              <a:gd name="T81" fmla="*/ 209 h 428"/>
              <a:gd name="T82" fmla="*/ 647 w 1930"/>
              <a:gd name="T83" fmla="*/ 165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30" h="428">
                <a:moveTo>
                  <a:pt x="12" y="291"/>
                </a:moveTo>
                <a:cubicBezTo>
                  <a:pt x="12" y="292"/>
                  <a:pt x="12" y="292"/>
                  <a:pt x="12" y="292"/>
                </a:cubicBezTo>
                <a:cubicBezTo>
                  <a:pt x="12" y="291"/>
                  <a:pt x="12" y="291"/>
                  <a:pt x="12" y="291"/>
                </a:cubicBezTo>
                <a:close/>
                <a:moveTo>
                  <a:pt x="1064" y="223"/>
                </a:moveTo>
                <a:cubicBezTo>
                  <a:pt x="1064" y="308"/>
                  <a:pt x="993" y="365"/>
                  <a:pt x="918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3" y="83"/>
                  <a:pt x="823" y="83"/>
                  <a:pt x="823" y="83"/>
                </a:cubicBezTo>
                <a:cubicBezTo>
                  <a:pt x="916" y="83"/>
                  <a:pt x="916" y="83"/>
                  <a:pt x="916" y="83"/>
                </a:cubicBezTo>
                <a:cubicBezTo>
                  <a:pt x="1005" y="82"/>
                  <a:pt x="1064" y="138"/>
                  <a:pt x="1064" y="223"/>
                </a:cubicBezTo>
                <a:close/>
                <a:moveTo>
                  <a:pt x="1011" y="220"/>
                </a:moveTo>
                <a:cubicBezTo>
                  <a:pt x="1009" y="168"/>
                  <a:pt x="973" y="127"/>
                  <a:pt x="918" y="128"/>
                </a:cubicBezTo>
                <a:cubicBezTo>
                  <a:pt x="874" y="128"/>
                  <a:pt x="874" y="128"/>
                  <a:pt x="874" y="128"/>
                </a:cubicBezTo>
                <a:cubicBezTo>
                  <a:pt x="874" y="321"/>
                  <a:pt x="874" y="321"/>
                  <a:pt x="874" y="321"/>
                </a:cubicBezTo>
                <a:cubicBezTo>
                  <a:pt x="907" y="321"/>
                  <a:pt x="907" y="321"/>
                  <a:pt x="907" y="321"/>
                </a:cubicBezTo>
                <a:cubicBezTo>
                  <a:pt x="968" y="320"/>
                  <a:pt x="1009" y="285"/>
                  <a:pt x="1011" y="220"/>
                </a:cubicBezTo>
                <a:close/>
                <a:moveTo>
                  <a:pt x="1170" y="366"/>
                </a:moveTo>
                <a:cubicBezTo>
                  <a:pt x="1223" y="366"/>
                  <a:pt x="1223" y="366"/>
                  <a:pt x="1223" y="366"/>
                </a:cubicBezTo>
                <a:cubicBezTo>
                  <a:pt x="1226" y="83"/>
                  <a:pt x="1226" y="83"/>
                  <a:pt x="1226" y="83"/>
                </a:cubicBezTo>
                <a:cubicBezTo>
                  <a:pt x="1173" y="83"/>
                  <a:pt x="1173" y="83"/>
                  <a:pt x="1173" y="83"/>
                </a:cubicBezTo>
                <a:lnTo>
                  <a:pt x="1170" y="366"/>
                </a:lnTo>
                <a:close/>
                <a:moveTo>
                  <a:pt x="1528" y="293"/>
                </a:moveTo>
                <a:cubicBezTo>
                  <a:pt x="1394" y="75"/>
                  <a:pt x="1394" y="75"/>
                  <a:pt x="1394" y="75"/>
                </a:cubicBezTo>
                <a:cubicBezTo>
                  <a:pt x="1346" y="92"/>
                  <a:pt x="1346" y="92"/>
                  <a:pt x="1346" y="92"/>
                </a:cubicBezTo>
                <a:cubicBezTo>
                  <a:pt x="1343" y="366"/>
                  <a:pt x="1343" y="366"/>
                  <a:pt x="1343" y="366"/>
                </a:cubicBezTo>
                <a:cubicBezTo>
                  <a:pt x="1396" y="366"/>
                  <a:pt x="1396" y="366"/>
                  <a:pt x="1396" y="366"/>
                </a:cubicBezTo>
                <a:cubicBezTo>
                  <a:pt x="1391" y="156"/>
                  <a:pt x="1391" y="156"/>
                  <a:pt x="1391" y="156"/>
                </a:cubicBezTo>
                <a:cubicBezTo>
                  <a:pt x="1394" y="156"/>
                  <a:pt x="1394" y="156"/>
                  <a:pt x="1394" y="156"/>
                </a:cubicBezTo>
                <a:cubicBezTo>
                  <a:pt x="1522" y="371"/>
                  <a:pt x="1522" y="371"/>
                  <a:pt x="1522" y="371"/>
                </a:cubicBezTo>
                <a:cubicBezTo>
                  <a:pt x="1575" y="355"/>
                  <a:pt x="1575" y="355"/>
                  <a:pt x="1575" y="355"/>
                </a:cubicBezTo>
                <a:cubicBezTo>
                  <a:pt x="1578" y="83"/>
                  <a:pt x="1578" y="83"/>
                  <a:pt x="1578" y="83"/>
                </a:cubicBezTo>
                <a:cubicBezTo>
                  <a:pt x="1525" y="83"/>
                  <a:pt x="1525" y="83"/>
                  <a:pt x="1525" y="83"/>
                </a:cubicBezTo>
                <a:lnTo>
                  <a:pt x="1528" y="293"/>
                </a:lnTo>
                <a:close/>
                <a:moveTo>
                  <a:pt x="1930" y="355"/>
                </a:moveTo>
                <a:cubicBezTo>
                  <a:pt x="1880" y="371"/>
                  <a:pt x="1880" y="371"/>
                  <a:pt x="1880" y="371"/>
                </a:cubicBezTo>
                <a:cubicBezTo>
                  <a:pt x="1852" y="290"/>
                  <a:pt x="1852" y="290"/>
                  <a:pt x="1852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21" y="371"/>
                  <a:pt x="1721" y="371"/>
                  <a:pt x="1721" y="371"/>
                </a:cubicBezTo>
                <a:cubicBezTo>
                  <a:pt x="1673" y="355"/>
                  <a:pt x="1673" y="355"/>
                  <a:pt x="1673" y="355"/>
                </a:cubicBezTo>
                <a:cubicBezTo>
                  <a:pt x="1782" y="83"/>
                  <a:pt x="1782" y="83"/>
                  <a:pt x="1782" y="83"/>
                </a:cubicBezTo>
                <a:cubicBezTo>
                  <a:pt x="1830" y="83"/>
                  <a:pt x="1830" y="83"/>
                  <a:pt x="1830" y="83"/>
                </a:cubicBezTo>
                <a:lnTo>
                  <a:pt x="1930" y="355"/>
                </a:lnTo>
                <a:close/>
                <a:moveTo>
                  <a:pt x="1838" y="248"/>
                </a:moveTo>
                <a:cubicBezTo>
                  <a:pt x="1805" y="137"/>
                  <a:pt x="1805" y="137"/>
                  <a:pt x="1805" y="137"/>
                </a:cubicBezTo>
                <a:cubicBezTo>
                  <a:pt x="1768" y="248"/>
                  <a:pt x="1768" y="248"/>
                  <a:pt x="1768" y="248"/>
                </a:cubicBezTo>
                <a:lnTo>
                  <a:pt x="1838" y="248"/>
                </a:lnTo>
                <a:close/>
                <a:moveTo>
                  <a:pt x="13" y="292"/>
                </a:moveTo>
                <a:cubicBezTo>
                  <a:pt x="13" y="292"/>
                  <a:pt x="13" y="292"/>
                  <a:pt x="13" y="292"/>
                </a:cubicBezTo>
                <a:cubicBezTo>
                  <a:pt x="13" y="292"/>
                  <a:pt x="13" y="292"/>
                  <a:pt x="13" y="292"/>
                </a:cubicBezTo>
                <a:close/>
                <a:moveTo>
                  <a:pt x="384" y="154"/>
                </a:moveTo>
                <a:cubicBezTo>
                  <a:pt x="403" y="205"/>
                  <a:pt x="400" y="259"/>
                  <a:pt x="378" y="308"/>
                </a:cubicBezTo>
                <a:cubicBezTo>
                  <a:pt x="356" y="356"/>
                  <a:pt x="316" y="392"/>
                  <a:pt x="266" y="410"/>
                </a:cubicBezTo>
                <a:cubicBezTo>
                  <a:pt x="216" y="428"/>
                  <a:pt x="162" y="426"/>
                  <a:pt x="114" y="403"/>
                </a:cubicBezTo>
                <a:cubicBezTo>
                  <a:pt x="66" y="381"/>
                  <a:pt x="30" y="341"/>
                  <a:pt x="13" y="292"/>
                </a:cubicBezTo>
                <a:cubicBezTo>
                  <a:pt x="4" y="269"/>
                  <a:pt x="0" y="246"/>
                  <a:pt x="0" y="223"/>
                </a:cubicBezTo>
                <a:cubicBezTo>
                  <a:pt x="0" y="195"/>
                  <a:pt x="6" y="167"/>
                  <a:pt x="18" y="141"/>
                </a:cubicBezTo>
                <a:cubicBezTo>
                  <a:pt x="40" y="92"/>
                  <a:pt x="80" y="55"/>
                  <a:pt x="131" y="36"/>
                </a:cubicBezTo>
                <a:cubicBezTo>
                  <a:pt x="234" y="0"/>
                  <a:pt x="347" y="53"/>
                  <a:pt x="384" y="154"/>
                </a:cubicBezTo>
                <a:close/>
                <a:moveTo>
                  <a:pt x="329" y="174"/>
                </a:moveTo>
                <a:cubicBezTo>
                  <a:pt x="303" y="103"/>
                  <a:pt x="223" y="66"/>
                  <a:pt x="151" y="91"/>
                </a:cubicBezTo>
                <a:cubicBezTo>
                  <a:pt x="116" y="105"/>
                  <a:pt x="87" y="131"/>
                  <a:pt x="72" y="165"/>
                </a:cubicBezTo>
                <a:cubicBezTo>
                  <a:pt x="56" y="199"/>
                  <a:pt x="55" y="237"/>
                  <a:pt x="68" y="272"/>
                </a:cubicBezTo>
                <a:cubicBezTo>
                  <a:pt x="68" y="272"/>
                  <a:pt x="68" y="272"/>
                  <a:pt x="68" y="272"/>
                </a:cubicBezTo>
                <a:cubicBezTo>
                  <a:pt x="80" y="307"/>
                  <a:pt x="106" y="334"/>
                  <a:pt x="139" y="350"/>
                </a:cubicBezTo>
                <a:cubicBezTo>
                  <a:pt x="173" y="366"/>
                  <a:pt x="211" y="368"/>
                  <a:pt x="246" y="355"/>
                </a:cubicBezTo>
                <a:cubicBezTo>
                  <a:pt x="281" y="342"/>
                  <a:pt x="309" y="316"/>
                  <a:pt x="325" y="283"/>
                </a:cubicBezTo>
                <a:cubicBezTo>
                  <a:pt x="341" y="249"/>
                  <a:pt x="342" y="210"/>
                  <a:pt x="329" y="174"/>
                </a:cubicBezTo>
                <a:close/>
                <a:moveTo>
                  <a:pt x="647" y="237"/>
                </a:moveTo>
                <a:cubicBezTo>
                  <a:pt x="734" y="352"/>
                  <a:pt x="734" y="352"/>
                  <a:pt x="734" y="352"/>
                </a:cubicBezTo>
                <a:cubicBezTo>
                  <a:pt x="681" y="371"/>
                  <a:pt x="681" y="371"/>
                  <a:pt x="681" y="371"/>
                </a:cubicBezTo>
                <a:cubicBezTo>
                  <a:pt x="602" y="262"/>
                  <a:pt x="602" y="262"/>
                  <a:pt x="602" y="262"/>
                </a:cubicBezTo>
                <a:cubicBezTo>
                  <a:pt x="598" y="255"/>
                  <a:pt x="592" y="252"/>
                  <a:pt x="583" y="251"/>
                </a:cubicBezTo>
                <a:cubicBezTo>
                  <a:pt x="566" y="251"/>
                  <a:pt x="566" y="251"/>
                  <a:pt x="566" y="251"/>
                </a:cubicBezTo>
                <a:cubicBezTo>
                  <a:pt x="566" y="366"/>
                  <a:pt x="566" y="366"/>
                  <a:pt x="566" y="366"/>
                </a:cubicBezTo>
                <a:cubicBezTo>
                  <a:pt x="513" y="366"/>
                  <a:pt x="513" y="366"/>
                  <a:pt x="513" y="366"/>
                </a:cubicBezTo>
                <a:cubicBezTo>
                  <a:pt x="516" y="83"/>
                  <a:pt x="516" y="83"/>
                  <a:pt x="516" y="83"/>
                </a:cubicBezTo>
                <a:cubicBezTo>
                  <a:pt x="605" y="83"/>
                  <a:pt x="605" y="83"/>
                  <a:pt x="605" y="83"/>
                </a:cubicBezTo>
                <a:cubicBezTo>
                  <a:pt x="674" y="83"/>
                  <a:pt x="702" y="120"/>
                  <a:pt x="703" y="165"/>
                </a:cubicBezTo>
                <a:cubicBezTo>
                  <a:pt x="702" y="200"/>
                  <a:pt x="680" y="226"/>
                  <a:pt x="647" y="237"/>
                </a:cubicBezTo>
                <a:close/>
                <a:moveTo>
                  <a:pt x="647" y="165"/>
                </a:moveTo>
                <a:cubicBezTo>
                  <a:pt x="647" y="139"/>
                  <a:pt x="625" y="125"/>
                  <a:pt x="600" y="125"/>
                </a:cubicBezTo>
                <a:cubicBezTo>
                  <a:pt x="569" y="125"/>
                  <a:pt x="569" y="125"/>
                  <a:pt x="569" y="125"/>
                </a:cubicBezTo>
                <a:cubicBezTo>
                  <a:pt x="569" y="209"/>
                  <a:pt x="569" y="209"/>
                  <a:pt x="569" y="209"/>
                </a:cubicBezTo>
                <a:cubicBezTo>
                  <a:pt x="600" y="209"/>
                  <a:pt x="600" y="209"/>
                  <a:pt x="600" y="209"/>
                </a:cubicBezTo>
                <a:cubicBezTo>
                  <a:pt x="616" y="209"/>
                  <a:pt x="647" y="202"/>
                  <a:pt x="647" y="1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10" name="Ahead of change (PHJU)"/>
          <p:cNvSpPr>
            <a:spLocks noGrp="1" noSelect="1" noChangeAspect="1"/>
          </p:cNvSpPr>
          <p:nvPr>
            <p:ph type="body" idx="1000" hasCustomPrompt="1"/>
            <p:custDataLst>
              <p:custData r:id="rId3"/>
            </p:custDataLst>
          </p:nvPr>
        </p:nvSpPr>
        <p:spPr bwMode="gray">
          <a:xfrm>
            <a:off x="463116" y="6418800"/>
            <a:ext cx="900000" cy="117288"/>
          </a:xfrm>
          <a:custGeom>
            <a:avLst/>
            <a:gdLst>
              <a:gd name="T0" fmla="*/ 2256 w 2302"/>
              <a:gd name="T1" fmla="*/ 152 h 301"/>
              <a:gd name="T2" fmla="*/ 2299 w 2302"/>
              <a:gd name="T3" fmla="*/ 177 h 301"/>
              <a:gd name="T4" fmla="*/ 2232 w 2302"/>
              <a:gd name="T5" fmla="*/ 234 h 301"/>
              <a:gd name="T6" fmla="*/ 2232 w 2302"/>
              <a:gd name="T7" fmla="*/ 199 h 301"/>
              <a:gd name="T8" fmla="*/ 2024 w 2302"/>
              <a:gd name="T9" fmla="*/ 164 h 301"/>
              <a:gd name="T10" fmla="*/ 2053 w 2302"/>
              <a:gd name="T11" fmla="*/ 197 h 301"/>
              <a:gd name="T12" fmla="*/ 2125 w 2302"/>
              <a:gd name="T13" fmla="*/ 97 h 301"/>
              <a:gd name="T14" fmla="*/ 2040 w 2302"/>
              <a:gd name="T15" fmla="*/ 94 h 301"/>
              <a:gd name="T16" fmla="*/ 2082 w 2302"/>
              <a:gd name="T17" fmla="*/ 213 h 301"/>
              <a:gd name="T18" fmla="*/ 2011 w 2302"/>
              <a:gd name="T19" fmla="*/ 245 h 301"/>
              <a:gd name="T20" fmla="*/ 1817 w 2302"/>
              <a:gd name="T21" fmla="*/ 231 h 301"/>
              <a:gd name="T22" fmla="*/ 1887 w 2302"/>
              <a:gd name="T23" fmla="*/ 133 h 301"/>
              <a:gd name="T24" fmla="*/ 1952 w 2302"/>
              <a:gd name="T25" fmla="*/ 231 h 301"/>
              <a:gd name="T26" fmla="*/ 1859 w 2302"/>
              <a:gd name="T27" fmla="*/ 119 h 301"/>
              <a:gd name="T28" fmla="*/ 1817 w 2302"/>
              <a:gd name="T29" fmla="*/ 231 h 301"/>
              <a:gd name="T30" fmla="*/ 1714 w 2302"/>
              <a:gd name="T31" fmla="*/ 132 h 301"/>
              <a:gd name="T32" fmla="*/ 1701 w 2302"/>
              <a:gd name="T33" fmla="*/ 234 h 301"/>
              <a:gd name="T34" fmla="*/ 1784 w 2302"/>
              <a:gd name="T35" fmla="*/ 231 h 301"/>
              <a:gd name="T36" fmla="*/ 1742 w 2302"/>
              <a:gd name="T37" fmla="*/ 117 h 301"/>
              <a:gd name="T38" fmla="*/ 1701 w 2302"/>
              <a:gd name="T39" fmla="*/ 234 h 301"/>
              <a:gd name="T40" fmla="*/ 1522 w 2302"/>
              <a:gd name="T41" fmla="*/ 159 h 301"/>
              <a:gd name="T42" fmla="*/ 1571 w 2302"/>
              <a:gd name="T43" fmla="*/ 231 h 301"/>
              <a:gd name="T44" fmla="*/ 1563 w 2302"/>
              <a:gd name="T45" fmla="*/ 94 h 301"/>
              <a:gd name="T46" fmla="*/ 1479 w 2302"/>
              <a:gd name="T47" fmla="*/ 4 h 301"/>
              <a:gd name="T48" fmla="*/ 1453 w 2302"/>
              <a:gd name="T49" fmla="*/ 210 h 301"/>
              <a:gd name="T50" fmla="*/ 1368 w 2302"/>
              <a:gd name="T51" fmla="*/ 164 h 301"/>
              <a:gd name="T52" fmla="*/ 1454 w 2302"/>
              <a:gd name="T53" fmla="*/ 121 h 301"/>
              <a:gd name="T54" fmla="*/ 1397 w 2302"/>
              <a:gd name="T55" fmla="*/ 234 h 301"/>
              <a:gd name="T56" fmla="*/ 1197 w 2302"/>
              <a:gd name="T57" fmla="*/ 132 h 301"/>
              <a:gd name="T58" fmla="*/ 1197 w 2302"/>
              <a:gd name="T59" fmla="*/ 97 h 301"/>
              <a:gd name="T60" fmla="*/ 1222 w 2302"/>
              <a:gd name="T61" fmla="*/ 45 h 301"/>
              <a:gd name="T62" fmla="*/ 1154 w 2302"/>
              <a:gd name="T63" fmla="*/ 52 h 301"/>
              <a:gd name="T64" fmla="*/ 1132 w 2302"/>
              <a:gd name="T65" fmla="*/ 132 h 301"/>
              <a:gd name="T66" fmla="*/ 1040 w 2302"/>
              <a:gd name="T67" fmla="*/ 198 h 301"/>
              <a:gd name="T68" fmla="*/ 1070 w 2302"/>
              <a:gd name="T69" fmla="*/ 164 h 301"/>
              <a:gd name="T70" fmla="*/ 1113 w 2302"/>
              <a:gd name="T71" fmla="*/ 164 h 301"/>
              <a:gd name="T72" fmla="*/ 1040 w 2302"/>
              <a:gd name="T73" fmla="*/ 234 h 301"/>
              <a:gd name="T74" fmla="*/ 796 w 2302"/>
              <a:gd name="T75" fmla="*/ 132 h 301"/>
              <a:gd name="T76" fmla="*/ 784 w 2302"/>
              <a:gd name="T77" fmla="*/ 234 h 301"/>
              <a:gd name="T78" fmla="*/ 867 w 2302"/>
              <a:gd name="T79" fmla="*/ 231 h 301"/>
              <a:gd name="T80" fmla="*/ 825 w 2302"/>
              <a:gd name="T81" fmla="*/ 116 h 301"/>
              <a:gd name="T82" fmla="*/ 784 w 2302"/>
              <a:gd name="T83" fmla="*/ 234 h 301"/>
              <a:gd name="T84" fmla="*/ 624 w 2302"/>
              <a:gd name="T85" fmla="*/ 132 h 301"/>
              <a:gd name="T86" fmla="*/ 611 w 2302"/>
              <a:gd name="T87" fmla="*/ 234 h 301"/>
              <a:gd name="T88" fmla="*/ 694 w 2302"/>
              <a:gd name="T89" fmla="*/ 231 h 301"/>
              <a:gd name="T90" fmla="*/ 652 w 2302"/>
              <a:gd name="T91" fmla="*/ 117 h 301"/>
              <a:gd name="T92" fmla="*/ 611 w 2302"/>
              <a:gd name="T93" fmla="*/ 234 h 301"/>
              <a:gd name="T94" fmla="*/ 484 w 2302"/>
              <a:gd name="T95" fmla="*/ 152 h 301"/>
              <a:gd name="T96" fmla="*/ 527 w 2302"/>
              <a:gd name="T97" fmla="*/ 177 h 301"/>
              <a:gd name="T98" fmla="*/ 460 w 2302"/>
              <a:gd name="T99" fmla="*/ 234 h 301"/>
              <a:gd name="T100" fmla="*/ 460 w 2302"/>
              <a:gd name="T101" fmla="*/ 199 h 301"/>
              <a:gd name="T102" fmla="*/ 262 w 2302"/>
              <a:gd name="T103" fmla="*/ 231 h 301"/>
              <a:gd name="T104" fmla="*/ 311 w 2302"/>
              <a:gd name="T105" fmla="*/ 156 h 301"/>
              <a:gd name="T106" fmla="*/ 354 w 2302"/>
              <a:gd name="T107" fmla="*/ 154 h 301"/>
              <a:gd name="T108" fmla="*/ 262 w 2302"/>
              <a:gd name="T109" fmla="*/ 4 h 301"/>
              <a:gd name="T110" fmla="*/ 68 w 2302"/>
              <a:gd name="T111" fmla="*/ 170 h 301"/>
              <a:gd name="T112" fmla="*/ 109 w 2302"/>
              <a:gd name="T113" fmla="*/ 133 h 301"/>
              <a:gd name="T114" fmla="*/ 0 w 2302"/>
              <a:gd name="T115" fmla="*/ 231 h 301"/>
              <a:gd name="T116" fmla="*/ 140 w 2302"/>
              <a:gd name="T117" fmla="*/ 207 h 301"/>
              <a:gd name="T118" fmla="*/ 98 w 2302"/>
              <a:gd name="T119" fmla="*/ 15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02" h="301">
                <a:moveTo>
                  <a:pt x="2196" y="152"/>
                </a:moveTo>
                <a:cubicBezTo>
                  <a:pt x="2200" y="136"/>
                  <a:pt x="2211" y="129"/>
                  <a:pt x="2228" y="129"/>
                </a:cubicBezTo>
                <a:cubicBezTo>
                  <a:pt x="2245" y="129"/>
                  <a:pt x="2254" y="138"/>
                  <a:pt x="2256" y="152"/>
                </a:cubicBezTo>
                <a:lnTo>
                  <a:pt x="2196" y="152"/>
                </a:lnTo>
                <a:close/>
                <a:moveTo>
                  <a:pt x="2197" y="177"/>
                </a:moveTo>
                <a:cubicBezTo>
                  <a:pt x="2299" y="177"/>
                  <a:pt x="2299" y="177"/>
                  <a:pt x="2299" y="177"/>
                </a:cubicBezTo>
                <a:cubicBezTo>
                  <a:pt x="2302" y="130"/>
                  <a:pt x="2276" y="94"/>
                  <a:pt x="2228" y="94"/>
                </a:cubicBezTo>
                <a:cubicBezTo>
                  <a:pt x="2186" y="94"/>
                  <a:pt x="2153" y="123"/>
                  <a:pt x="2153" y="164"/>
                </a:cubicBezTo>
                <a:cubicBezTo>
                  <a:pt x="2153" y="205"/>
                  <a:pt x="2184" y="234"/>
                  <a:pt x="2232" y="234"/>
                </a:cubicBezTo>
                <a:cubicBezTo>
                  <a:pt x="2260" y="234"/>
                  <a:pt x="2277" y="225"/>
                  <a:pt x="2290" y="214"/>
                </a:cubicBezTo>
                <a:cubicBezTo>
                  <a:pt x="2265" y="188"/>
                  <a:pt x="2265" y="188"/>
                  <a:pt x="2265" y="188"/>
                </a:cubicBezTo>
                <a:cubicBezTo>
                  <a:pt x="2259" y="193"/>
                  <a:pt x="2247" y="199"/>
                  <a:pt x="2232" y="199"/>
                </a:cubicBezTo>
                <a:cubicBezTo>
                  <a:pt x="2212" y="199"/>
                  <a:pt x="2201" y="191"/>
                  <a:pt x="2197" y="177"/>
                </a:cubicBezTo>
                <a:close/>
                <a:moveTo>
                  <a:pt x="2053" y="197"/>
                </a:moveTo>
                <a:cubicBezTo>
                  <a:pt x="2035" y="197"/>
                  <a:pt x="2024" y="185"/>
                  <a:pt x="2024" y="164"/>
                </a:cubicBezTo>
                <a:cubicBezTo>
                  <a:pt x="2024" y="144"/>
                  <a:pt x="2035" y="132"/>
                  <a:pt x="2053" y="132"/>
                </a:cubicBezTo>
                <a:cubicBezTo>
                  <a:pt x="2071" y="132"/>
                  <a:pt x="2083" y="144"/>
                  <a:pt x="2083" y="164"/>
                </a:cubicBezTo>
                <a:cubicBezTo>
                  <a:pt x="2083" y="185"/>
                  <a:pt x="2071" y="197"/>
                  <a:pt x="2053" y="197"/>
                </a:cubicBezTo>
                <a:close/>
                <a:moveTo>
                  <a:pt x="2052" y="301"/>
                </a:moveTo>
                <a:cubicBezTo>
                  <a:pt x="2091" y="301"/>
                  <a:pt x="2125" y="282"/>
                  <a:pt x="2125" y="231"/>
                </a:cubicBezTo>
                <a:cubicBezTo>
                  <a:pt x="2125" y="97"/>
                  <a:pt x="2125" y="97"/>
                  <a:pt x="2125" y="97"/>
                </a:cubicBezTo>
                <a:cubicBezTo>
                  <a:pt x="2082" y="97"/>
                  <a:pt x="2082" y="97"/>
                  <a:pt x="2082" y="97"/>
                </a:cubicBezTo>
                <a:cubicBezTo>
                  <a:pt x="2083" y="118"/>
                  <a:pt x="2083" y="118"/>
                  <a:pt x="2083" y="118"/>
                </a:cubicBezTo>
                <a:cubicBezTo>
                  <a:pt x="2075" y="104"/>
                  <a:pt x="2062" y="94"/>
                  <a:pt x="2040" y="94"/>
                </a:cubicBezTo>
                <a:cubicBezTo>
                  <a:pt x="2008" y="94"/>
                  <a:pt x="1980" y="122"/>
                  <a:pt x="1980" y="164"/>
                </a:cubicBezTo>
                <a:cubicBezTo>
                  <a:pt x="1980" y="205"/>
                  <a:pt x="2008" y="234"/>
                  <a:pt x="2041" y="234"/>
                </a:cubicBezTo>
                <a:cubicBezTo>
                  <a:pt x="2061" y="234"/>
                  <a:pt x="2075" y="225"/>
                  <a:pt x="2082" y="213"/>
                </a:cubicBezTo>
                <a:cubicBezTo>
                  <a:pt x="2082" y="229"/>
                  <a:pt x="2082" y="229"/>
                  <a:pt x="2082" y="229"/>
                </a:cubicBezTo>
                <a:cubicBezTo>
                  <a:pt x="2082" y="254"/>
                  <a:pt x="2070" y="265"/>
                  <a:pt x="2050" y="265"/>
                </a:cubicBezTo>
                <a:cubicBezTo>
                  <a:pt x="2031" y="265"/>
                  <a:pt x="2020" y="256"/>
                  <a:pt x="2011" y="245"/>
                </a:cubicBezTo>
                <a:cubicBezTo>
                  <a:pt x="1981" y="268"/>
                  <a:pt x="1981" y="268"/>
                  <a:pt x="1981" y="268"/>
                </a:cubicBezTo>
                <a:cubicBezTo>
                  <a:pt x="1996" y="288"/>
                  <a:pt x="2017" y="301"/>
                  <a:pt x="2052" y="301"/>
                </a:cubicBezTo>
                <a:close/>
                <a:moveTo>
                  <a:pt x="1817" y="231"/>
                </a:moveTo>
                <a:cubicBezTo>
                  <a:pt x="1860" y="231"/>
                  <a:pt x="1860" y="231"/>
                  <a:pt x="1860" y="231"/>
                </a:cubicBezTo>
                <a:cubicBezTo>
                  <a:pt x="1860" y="159"/>
                  <a:pt x="1860" y="159"/>
                  <a:pt x="1860" y="159"/>
                </a:cubicBezTo>
                <a:cubicBezTo>
                  <a:pt x="1860" y="142"/>
                  <a:pt x="1870" y="133"/>
                  <a:pt x="1887" y="133"/>
                </a:cubicBezTo>
                <a:cubicBezTo>
                  <a:pt x="1902" y="133"/>
                  <a:pt x="1909" y="141"/>
                  <a:pt x="1909" y="156"/>
                </a:cubicBezTo>
                <a:cubicBezTo>
                  <a:pt x="1909" y="231"/>
                  <a:pt x="1909" y="231"/>
                  <a:pt x="1909" y="231"/>
                </a:cubicBezTo>
                <a:cubicBezTo>
                  <a:pt x="1952" y="231"/>
                  <a:pt x="1952" y="231"/>
                  <a:pt x="1952" y="231"/>
                </a:cubicBezTo>
                <a:cubicBezTo>
                  <a:pt x="1952" y="154"/>
                  <a:pt x="1952" y="154"/>
                  <a:pt x="1952" y="154"/>
                </a:cubicBezTo>
                <a:cubicBezTo>
                  <a:pt x="1952" y="115"/>
                  <a:pt x="1931" y="94"/>
                  <a:pt x="1901" y="94"/>
                </a:cubicBezTo>
                <a:cubicBezTo>
                  <a:pt x="1883" y="94"/>
                  <a:pt x="1867" y="103"/>
                  <a:pt x="1859" y="119"/>
                </a:cubicBezTo>
                <a:cubicBezTo>
                  <a:pt x="1860" y="97"/>
                  <a:pt x="1860" y="97"/>
                  <a:pt x="1860" y="97"/>
                </a:cubicBezTo>
                <a:cubicBezTo>
                  <a:pt x="1817" y="97"/>
                  <a:pt x="1817" y="97"/>
                  <a:pt x="1817" y="97"/>
                </a:cubicBezTo>
                <a:lnTo>
                  <a:pt x="1817" y="231"/>
                </a:lnTo>
                <a:close/>
                <a:moveTo>
                  <a:pt x="1714" y="197"/>
                </a:moveTo>
                <a:cubicBezTo>
                  <a:pt x="1696" y="197"/>
                  <a:pt x="1686" y="184"/>
                  <a:pt x="1686" y="164"/>
                </a:cubicBezTo>
                <a:cubicBezTo>
                  <a:pt x="1686" y="144"/>
                  <a:pt x="1696" y="132"/>
                  <a:pt x="1714" y="132"/>
                </a:cubicBezTo>
                <a:cubicBezTo>
                  <a:pt x="1732" y="132"/>
                  <a:pt x="1742" y="144"/>
                  <a:pt x="1742" y="164"/>
                </a:cubicBezTo>
                <a:cubicBezTo>
                  <a:pt x="1742" y="184"/>
                  <a:pt x="1732" y="197"/>
                  <a:pt x="1714" y="197"/>
                </a:cubicBezTo>
                <a:close/>
                <a:moveTo>
                  <a:pt x="1701" y="234"/>
                </a:moveTo>
                <a:cubicBezTo>
                  <a:pt x="1721" y="234"/>
                  <a:pt x="1735" y="224"/>
                  <a:pt x="1742" y="211"/>
                </a:cubicBezTo>
                <a:cubicBezTo>
                  <a:pt x="1742" y="231"/>
                  <a:pt x="1742" y="231"/>
                  <a:pt x="1742" y="231"/>
                </a:cubicBezTo>
                <a:cubicBezTo>
                  <a:pt x="1784" y="231"/>
                  <a:pt x="1784" y="231"/>
                  <a:pt x="1784" y="231"/>
                </a:cubicBezTo>
                <a:cubicBezTo>
                  <a:pt x="1784" y="97"/>
                  <a:pt x="1784" y="97"/>
                  <a:pt x="1784" y="97"/>
                </a:cubicBezTo>
                <a:cubicBezTo>
                  <a:pt x="1742" y="97"/>
                  <a:pt x="1742" y="97"/>
                  <a:pt x="1742" y="97"/>
                </a:cubicBezTo>
                <a:cubicBezTo>
                  <a:pt x="1742" y="117"/>
                  <a:pt x="1742" y="117"/>
                  <a:pt x="1742" y="117"/>
                </a:cubicBezTo>
                <a:cubicBezTo>
                  <a:pt x="1735" y="103"/>
                  <a:pt x="1722" y="94"/>
                  <a:pt x="1701" y="94"/>
                </a:cubicBezTo>
                <a:cubicBezTo>
                  <a:pt x="1668" y="94"/>
                  <a:pt x="1642" y="123"/>
                  <a:pt x="1642" y="164"/>
                </a:cubicBezTo>
                <a:cubicBezTo>
                  <a:pt x="1642" y="205"/>
                  <a:pt x="1669" y="234"/>
                  <a:pt x="1701" y="234"/>
                </a:cubicBezTo>
                <a:close/>
                <a:moveTo>
                  <a:pt x="1479" y="231"/>
                </a:moveTo>
                <a:cubicBezTo>
                  <a:pt x="1522" y="231"/>
                  <a:pt x="1522" y="231"/>
                  <a:pt x="1522" y="231"/>
                </a:cubicBezTo>
                <a:cubicBezTo>
                  <a:pt x="1522" y="159"/>
                  <a:pt x="1522" y="159"/>
                  <a:pt x="1522" y="159"/>
                </a:cubicBezTo>
                <a:cubicBezTo>
                  <a:pt x="1522" y="142"/>
                  <a:pt x="1532" y="133"/>
                  <a:pt x="1549" y="133"/>
                </a:cubicBezTo>
                <a:cubicBezTo>
                  <a:pt x="1564" y="133"/>
                  <a:pt x="1571" y="141"/>
                  <a:pt x="1571" y="156"/>
                </a:cubicBezTo>
                <a:cubicBezTo>
                  <a:pt x="1571" y="231"/>
                  <a:pt x="1571" y="231"/>
                  <a:pt x="1571" y="231"/>
                </a:cubicBezTo>
                <a:cubicBezTo>
                  <a:pt x="1614" y="231"/>
                  <a:pt x="1614" y="231"/>
                  <a:pt x="1614" y="231"/>
                </a:cubicBezTo>
                <a:cubicBezTo>
                  <a:pt x="1614" y="154"/>
                  <a:pt x="1614" y="154"/>
                  <a:pt x="1614" y="154"/>
                </a:cubicBezTo>
                <a:cubicBezTo>
                  <a:pt x="1614" y="115"/>
                  <a:pt x="1592" y="94"/>
                  <a:pt x="1563" y="94"/>
                </a:cubicBezTo>
                <a:cubicBezTo>
                  <a:pt x="1545" y="94"/>
                  <a:pt x="1530" y="103"/>
                  <a:pt x="1522" y="118"/>
                </a:cubicBezTo>
                <a:cubicBezTo>
                  <a:pt x="1522" y="4"/>
                  <a:pt x="1522" y="4"/>
                  <a:pt x="1522" y="4"/>
                </a:cubicBezTo>
                <a:cubicBezTo>
                  <a:pt x="1479" y="4"/>
                  <a:pt x="1479" y="4"/>
                  <a:pt x="1479" y="4"/>
                </a:cubicBezTo>
                <a:lnTo>
                  <a:pt x="1479" y="231"/>
                </a:lnTo>
                <a:close/>
                <a:moveTo>
                  <a:pt x="1397" y="234"/>
                </a:moveTo>
                <a:cubicBezTo>
                  <a:pt x="1424" y="234"/>
                  <a:pt x="1440" y="224"/>
                  <a:pt x="1453" y="210"/>
                </a:cubicBezTo>
                <a:cubicBezTo>
                  <a:pt x="1425" y="184"/>
                  <a:pt x="1425" y="184"/>
                  <a:pt x="1425" y="184"/>
                </a:cubicBezTo>
                <a:cubicBezTo>
                  <a:pt x="1418" y="191"/>
                  <a:pt x="1411" y="197"/>
                  <a:pt x="1397" y="197"/>
                </a:cubicBezTo>
                <a:cubicBezTo>
                  <a:pt x="1378" y="197"/>
                  <a:pt x="1368" y="183"/>
                  <a:pt x="1368" y="164"/>
                </a:cubicBezTo>
                <a:cubicBezTo>
                  <a:pt x="1368" y="145"/>
                  <a:pt x="1378" y="131"/>
                  <a:pt x="1397" y="131"/>
                </a:cubicBezTo>
                <a:cubicBezTo>
                  <a:pt x="1408" y="131"/>
                  <a:pt x="1419" y="137"/>
                  <a:pt x="1424" y="145"/>
                </a:cubicBezTo>
                <a:cubicBezTo>
                  <a:pt x="1454" y="121"/>
                  <a:pt x="1454" y="121"/>
                  <a:pt x="1454" y="121"/>
                </a:cubicBezTo>
                <a:cubicBezTo>
                  <a:pt x="1440" y="104"/>
                  <a:pt x="1424" y="94"/>
                  <a:pt x="1397" y="94"/>
                </a:cubicBezTo>
                <a:cubicBezTo>
                  <a:pt x="1356" y="94"/>
                  <a:pt x="1324" y="123"/>
                  <a:pt x="1324" y="164"/>
                </a:cubicBezTo>
                <a:cubicBezTo>
                  <a:pt x="1324" y="205"/>
                  <a:pt x="1356" y="234"/>
                  <a:pt x="1397" y="234"/>
                </a:cubicBezTo>
                <a:close/>
                <a:moveTo>
                  <a:pt x="1154" y="231"/>
                </a:moveTo>
                <a:cubicBezTo>
                  <a:pt x="1197" y="231"/>
                  <a:pt x="1197" y="231"/>
                  <a:pt x="1197" y="231"/>
                </a:cubicBezTo>
                <a:cubicBezTo>
                  <a:pt x="1197" y="132"/>
                  <a:pt x="1197" y="132"/>
                  <a:pt x="1197" y="132"/>
                </a:cubicBezTo>
                <a:cubicBezTo>
                  <a:pt x="1233" y="132"/>
                  <a:pt x="1233" y="132"/>
                  <a:pt x="1233" y="132"/>
                </a:cubicBezTo>
                <a:cubicBezTo>
                  <a:pt x="1233" y="97"/>
                  <a:pt x="1233" y="97"/>
                  <a:pt x="1233" y="97"/>
                </a:cubicBezTo>
                <a:cubicBezTo>
                  <a:pt x="1197" y="97"/>
                  <a:pt x="1197" y="97"/>
                  <a:pt x="1197" y="97"/>
                </a:cubicBezTo>
                <a:cubicBezTo>
                  <a:pt x="1197" y="51"/>
                  <a:pt x="1197" y="51"/>
                  <a:pt x="1197" y="51"/>
                </a:cubicBezTo>
                <a:cubicBezTo>
                  <a:pt x="1197" y="41"/>
                  <a:pt x="1202" y="38"/>
                  <a:pt x="1208" y="38"/>
                </a:cubicBezTo>
                <a:cubicBezTo>
                  <a:pt x="1215" y="38"/>
                  <a:pt x="1219" y="41"/>
                  <a:pt x="1222" y="45"/>
                </a:cubicBezTo>
                <a:cubicBezTo>
                  <a:pt x="1245" y="17"/>
                  <a:pt x="1245" y="17"/>
                  <a:pt x="1245" y="17"/>
                </a:cubicBezTo>
                <a:cubicBezTo>
                  <a:pt x="1235" y="5"/>
                  <a:pt x="1223" y="0"/>
                  <a:pt x="1204" y="0"/>
                </a:cubicBezTo>
                <a:cubicBezTo>
                  <a:pt x="1171" y="0"/>
                  <a:pt x="1154" y="17"/>
                  <a:pt x="1154" y="52"/>
                </a:cubicBezTo>
                <a:cubicBezTo>
                  <a:pt x="1154" y="97"/>
                  <a:pt x="1154" y="97"/>
                  <a:pt x="1154" y="97"/>
                </a:cubicBezTo>
                <a:cubicBezTo>
                  <a:pt x="1132" y="97"/>
                  <a:pt x="1132" y="97"/>
                  <a:pt x="1132" y="97"/>
                </a:cubicBezTo>
                <a:cubicBezTo>
                  <a:pt x="1132" y="132"/>
                  <a:pt x="1132" y="132"/>
                  <a:pt x="1132" y="132"/>
                </a:cubicBezTo>
                <a:cubicBezTo>
                  <a:pt x="1154" y="132"/>
                  <a:pt x="1154" y="132"/>
                  <a:pt x="1154" y="132"/>
                </a:cubicBezTo>
                <a:lnTo>
                  <a:pt x="1154" y="231"/>
                </a:lnTo>
                <a:close/>
                <a:moveTo>
                  <a:pt x="1040" y="198"/>
                </a:moveTo>
                <a:cubicBezTo>
                  <a:pt x="1021" y="198"/>
                  <a:pt x="1009" y="184"/>
                  <a:pt x="1009" y="164"/>
                </a:cubicBezTo>
                <a:cubicBezTo>
                  <a:pt x="1009" y="144"/>
                  <a:pt x="1021" y="131"/>
                  <a:pt x="1040" y="131"/>
                </a:cubicBezTo>
                <a:cubicBezTo>
                  <a:pt x="1059" y="131"/>
                  <a:pt x="1070" y="144"/>
                  <a:pt x="1070" y="164"/>
                </a:cubicBezTo>
                <a:cubicBezTo>
                  <a:pt x="1070" y="184"/>
                  <a:pt x="1059" y="198"/>
                  <a:pt x="1040" y="198"/>
                </a:cubicBezTo>
                <a:close/>
                <a:moveTo>
                  <a:pt x="1040" y="234"/>
                </a:moveTo>
                <a:cubicBezTo>
                  <a:pt x="1081" y="234"/>
                  <a:pt x="1113" y="205"/>
                  <a:pt x="1113" y="164"/>
                </a:cubicBezTo>
                <a:cubicBezTo>
                  <a:pt x="1113" y="123"/>
                  <a:pt x="1081" y="94"/>
                  <a:pt x="1040" y="94"/>
                </a:cubicBezTo>
                <a:cubicBezTo>
                  <a:pt x="998" y="94"/>
                  <a:pt x="966" y="123"/>
                  <a:pt x="966" y="164"/>
                </a:cubicBezTo>
                <a:cubicBezTo>
                  <a:pt x="966" y="205"/>
                  <a:pt x="998" y="234"/>
                  <a:pt x="1040" y="234"/>
                </a:cubicBezTo>
                <a:close/>
                <a:moveTo>
                  <a:pt x="796" y="197"/>
                </a:moveTo>
                <a:cubicBezTo>
                  <a:pt x="778" y="197"/>
                  <a:pt x="767" y="185"/>
                  <a:pt x="767" y="164"/>
                </a:cubicBezTo>
                <a:cubicBezTo>
                  <a:pt x="767" y="144"/>
                  <a:pt x="778" y="132"/>
                  <a:pt x="796" y="132"/>
                </a:cubicBezTo>
                <a:cubicBezTo>
                  <a:pt x="814" y="132"/>
                  <a:pt x="826" y="144"/>
                  <a:pt x="826" y="164"/>
                </a:cubicBezTo>
                <a:cubicBezTo>
                  <a:pt x="826" y="185"/>
                  <a:pt x="814" y="197"/>
                  <a:pt x="796" y="197"/>
                </a:cubicBezTo>
                <a:close/>
                <a:moveTo>
                  <a:pt x="784" y="234"/>
                </a:moveTo>
                <a:cubicBezTo>
                  <a:pt x="804" y="234"/>
                  <a:pt x="818" y="226"/>
                  <a:pt x="826" y="212"/>
                </a:cubicBezTo>
                <a:cubicBezTo>
                  <a:pt x="825" y="231"/>
                  <a:pt x="825" y="231"/>
                  <a:pt x="825" y="231"/>
                </a:cubicBezTo>
                <a:cubicBezTo>
                  <a:pt x="867" y="231"/>
                  <a:pt x="867" y="231"/>
                  <a:pt x="867" y="231"/>
                </a:cubicBezTo>
                <a:cubicBezTo>
                  <a:pt x="867" y="4"/>
                  <a:pt x="867" y="4"/>
                  <a:pt x="867" y="4"/>
                </a:cubicBezTo>
                <a:cubicBezTo>
                  <a:pt x="825" y="4"/>
                  <a:pt x="825" y="4"/>
                  <a:pt x="825" y="4"/>
                </a:cubicBezTo>
                <a:cubicBezTo>
                  <a:pt x="825" y="116"/>
                  <a:pt x="825" y="116"/>
                  <a:pt x="825" y="116"/>
                </a:cubicBezTo>
                <a:cubicBezTo>
                  <a:pt x="816" y="103"/>
                  <a:pt x="804" y="94"/>
                  <a:pt x="783" y="94"/>
                </a:cubicBezTo>
                <a:cubicBezTo>
                  <a:pt x="751" y="94"/>
                  <a:pt x="723" y="122"/>
                  <a:pt x="723" y="164"/>
                </a:cubicBezTo>
                <a:cubicBezTo>
                  <a:pt x="723" y="205"/>
                  <a:pt x="751" y="234"/>
                  <a:pt x="784" y="234"/>
                </a:cubicBezTo>
                <a:close/>
                <a:moveTo>
                  <a:pt x="624" y="197"/>
                </a:moveTo>
                <a:cubicBezTo>
                  <a:pt x="606" y="197"/>
                  <a:pt x="596" y="184"/>
                  <a:pt x="596" y="164"/>
                </a:cubicBezTo>
                <a:cubicBezTo>
                  <a:pt x="596" y="144"/>
                  <a:pt x="606" y="132"/>
                  <a:pt x="624" y="132"/>
                </a:cubicBezTo>
                <a:cubicBezTo>
                  <a:pt x="642" y="132"/>
                  <a:pt x="652" y="144"/>
                  <a:pt x="652" y="164"/>
                </a:cubicBezTo>
                <a:cubicBezTo>
                  <a:pt x="652" y="184"/>
                  <a:pt x="642" y="197"/>
                  <a:pt x="624" y="197"/>
                </a:cubicBezTo>
                <a:close/>
                <a:moveTo>
                  <a:pt x="611" y="234"/>
                </a:moveTo>
                <a:cubicBezTo>
                  <a:pt x="631" y="234"/>
                  <a:pt x="645" y="224"/>
                  <a:pt x="652" y="211"/>
                </a:cubicBezTo>
                <a:cubicBezTo>
                  <a:pt x="652" y="231"/>
                  <a:pt x="652" y="231"/>
                  <a:pt x="652" y="231"/>
                </a:cubicBezTo>
                <a:cubicBezTo>
                  <a:pt x="694" y="231"/>
                  <a:pt x="694" y="231"/>
                  <a:pt x="694" y="231"/>
                </a:cubicBezTo>
                <a:cubicBezTo>
                  <a:pt x="694" y="97"/>
                  <a:pt x="694" y="97"/>
                  <a:pt x="694" y="97"/>
                </a:cubicBezTo>
                <a:cubicBezTo>
                  <a:pt x="652" y="97"/>
                  <a:pt x="652" y="97"/>
                  <a:pt x="652" y="97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45" y="103"/>
                  <a:pt x="631" y="94"/>
                  <a:pt x="611" y="94"/>
                </a:cubicBezTo>
                <a:cubicBezTo>
                  <a:pt x="578" y="94"/>
                  <a:pt x="551" y="123"/>
                  <a:pt x="551" y="164"/>
                </a:cubicBezTo>
                <a:cubicBezTo>
                  <a:pt x="551" y="205"/>
                  <a:pt x="579" y="234"/>
                  <a:pt x="611" y="234"/>
                </a:cubicBezTo>
                <a:close/>
                <a:moveTo>
                  <a:pt x="424" y="152"/>
                </a:moveTo>
                <a:cubicBezTo>
                  <a:pt x="428" y="136"/>
                  <a:pt x="439" y="129"/>
                  <a:pt x="456" y="129"/>
                </a:cubicBezTo>
                <a:cubicBezTo>
                  <a:pt x="473" y="129"/>
                  <a:pt x="482" y="138"/>
                  <a:pt x="484" y="152"/>
                </a:cubicBezTo>
                <a:lnTo>
                  <a:pt x="424" y="152"/>
                </a:lnTo>
                <a:close/>
                <a:moveTo>
                  <a:pt x="425" y="177"/>
                </a:moveTo>
                <a:cubicBezTo>
                  <a:pt x="527" y="177"/>
                  <a:pt x="527" y="177"/>
                  <a:pt x="527" y="177"/>
                </a:cubicBezTo>
                <a:cubicBezTo>
                  <a:pt x="530" y="130"/>
                  <a:pt x="504" y="94"/>
                  <a:pt x="456" y="94"/>
                </a:cubicBezTo>
                <a:cubicBezTo>
                  <a:pt x="414" y="94"/>
                  <a:pt x="382" y="123"/>
                  <a:pt x="382" y="164"/>
                </a:cubicBezTo>
                <a:cubicBezTo>
                  <a:pt x="382" y="205"/>
                  <a:pt x="413" y="234"/>
                  <a:pt x="460" y="234"/>
                </a:cubicBezTo>
                <a:cubicBezTo>
                  <a:pt x="488" y="234"/>
                  <a:pt x="505" y="225"/>
                  <a:pt x="518" y="214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87" y="193"/>
                  <a:pt x="475" y="199"/>
                  <a:pt x="460" y="199"/>
                </a:cubicBezTo>
                <a:cubicBezTo>
                  <a:pt x="441" y="199"/>
                  <a:pt x="429" y="191"/>
                  <a:pt x="425" y="177"/>
                </a:cubicBezTo>
                <a:close/>
                <a:moveTo>
                  <a:pt x="219" y="231"/>
                </a:moveTo>
                <a:cubicBezTo>
                  <a:pt x="262" y="231"/>
                  <a:pt x="262" y="231"/>
                  <a:pt x="262" y="231"/>
                </a:cubicBezTo>
                <a:cubicBezTo>
                  <a:pt x="262" y="159"/>
                  <a:pt x="262" y="159"/>
                  <a:pt x="262" y="159"/>
                </a:cubicBezTo>
                <a:cubicBezTo>
                  <a:pt x="262" y="142"/>
                  <a:pt x="272" y="133"/>
                  <a:pt x="289" y="133"/>
                </a:cubicBezTo>
                <a:cubicBezTo>
                  <a:pt x="304" y="133"/>
                  <a:pt x="311" y="141"/>
                  <a:pt x="311" y="156"/>
                </a:cubicBezTo>
                <a:cubicBezTo>
                  <a:pt x="311" y="231"/>
                  <a:pt x="311" y="231"/>
                  <a:pt x="311" y="231"/>
                </a:cubicBezTo>
                <a:cubicBezTo>
                  <a:pt x="354" y="231"/>
                  <a:pt x="354" y="231"/>
                  <a:pt x="354" y="231"/>
                </a:cubicBezTo>
                <a:cubicBezTo>
                  <a:pt x="354" y="154"/>
                  <a:pt x="354" y="154"/>
                  <a:pt x="354" y="154"/>
                </a:cubicBezTo>
                <a:cubicBezTo>
                  <a:pt x="354" y="115"/>
                  <a:pt x="333" y="94"/>
                  <a:pt x="304" y="94"/>
                </a:cubicBezTo>
                <a:cubicBezTo>
                  <a:pt x="285" y="94"/>
                  <a:pt x="270" y="103"/>
                  <a:pt x="262" y="118"/>
                </a:cubicBezTo>
                <a:cubicBezTo>
                  <a:pt x="262" y="4"/>
                  <a:pt x="262" y="4"/>
                  <a:pt x="262" y="4"/>
                </a:cubicBezTo>
                <a:cubicBezTo>
                  <a:pt x="219" y="4"/>
                  <a:pt x="219" y="4"/>
                  <a:pt x="219" y="4"/>
                </a:cubicBezTo>
                <a:lnTo>
                  <a:pt x="219" y="231"/>
                </a:lnTo>
                <a:close/>
                <a:moveTo>
                  <a:pt x="68" y="170"/>
                </a:moveTo>
                <a:cubicBezTo>
                  <a:pt x="83" y="133"/>
                  <a:pt x="83" y="133"/>
                  <a:pt x="83" y="133"/>
                </a:cubicBezTo>
                <a:cubicBezTo>
                  <a:pt x="89" y="118"/>
                  <a:pt x="96" y="94"/>
                  <a:pt x="96" y="94"/>
                </a:cubicBezTo>
                <a:cubicBezTo>
                  <a:pt x="96" y="94"/>
                  <a:pt x="102" y="118"/>
                  <a:pt x="109" y="133"/>
                </a:cubicBezTo>
                <a:cubicBezTo>
                  <a:pt x="124" y="170"/>
                  <a:pt x="124" y="170"/>
                  <a:pt x="124" y="170"/>
                </a:cubicBezTo>
                <a:lnTo>
                  <a:pt x="68" y="170"/>
                </a:lnTo>
                <a:close/>
                <a:moveTo>
                  <a:pt x="0" y="231"/>
                </a:moveTo>
                <a:cubicBezTo>
                  <a:pt x="43" y="231"/>
                  <a:pt x="43" y="231"/>
                  <a:pt x="43" y="231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140" y="207"/>
                  <a:pt x="140" y="207"/>
                  <a:pt x="140" y="207"/>
                </a:cubicBezTo>
                <a:cubicBezTo>
                  <a:pt x="150" y="231"/>
                  <a:pt x="150" y="231"/>
                  <a:pt x="150" y="231"/>
                </a:cubicBezTo>
                <a:cubicBezTo>
                  <a:pt x="196" y="231"/>
                  <a:pt x="196" y="231"/>
                  <a:pt x="196" y="231"/>
                </a:cubicBezTo>
                <a:cubicBezTo>
                  <a:pt x="98" y="15"/>
                  <a:pt x="98" y="15"/>
                  <a:pt x="98" y="15"/>
                </a:cubicBezTo>
                <a:cubicBezTo>
                  <a:pt x="94" y="15"/>
                  <a:pt x="94" y="15"/>
                  <a:pt x="94" y="15"/>
                </a:cubicBezTo>
                <a:lnTo>
                  <a:pt x="0" y="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>
            <a:lvl1pPr marL="342000" indent="-342000" algn="l" defTabSz="1088610" rtl="0" eaLnBrk="1" latinLnBrk="0" hangingPunct="1">
              <a:lnSpc>
                <a:spcPct val="125000"/>
              </a:lnSpc>
              <a:spcBef>
                <a:spcPts val="2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/>
            </a:lvl1pPr>
          </a:lstStyle>
          <a:p>
            <a:r>
              <a:rPr lang="nl-NL"/>
              <a:t> 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" name="***Titel 1"/>
          <p:cNvSpPr>
            <a:spLocks noGrp="1" noSelect="1"/>
          </p:cNvSpPr>
          <p:nvPr>
            <p:ph type="title" hasCustomPrompt="1"/>
          </p:nvPr>
        </p:nvSpPr>
        <p:spPr bwMode="gray">
          <a:xfrm>
            <a:off x="7271727" y="3008827"/>
            <a:ext cx="4391494" cy="28080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nl-NL" noProof="1"/>
              <a:t>[titel]</a:t>
            </a:r>
            <a:endParaRPr lang="nl-NL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1F11AB9-ACB5-481F-88FD-2AFD1EF21799}"/>
              </a:ext>
            </a:extLst>
          </p:cNvPr>
          <p:cNvSpPr>
            <a:spLocks noGrp="1" noSelect="1"/>
          </p:cNvSpPr>
          <p:nvPr>
            <p:ph type="body" sz="quarter" idx="1004" hasCustomPrompt="1"/>
          </p:nvPr>
        </p:nvSpPr>
        <p:spPr>
          <a:xfrm>
            <a:off x="12324085" y="3008826"/>
            <a:ext cx="2628899" cy="280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  <a:lvl2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2pPr>
            <a:lvl3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3pPr>
            <a:lvl4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4pPr>
            <a:lvl5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5pPr>
            <a:lvl6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6pPr>
            <a:lvl7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7pPr>
            <a:lvl8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8pPr>
            <a:lvl9pPr marL="0" marR="0" indent="0" algn="l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>
                <a:solidFill>
                  <a:schemeClr val="tx1">
                    <a:lumMod val="100000"/>
                  </a:schemeClr>
                </a:solidFill>
                <a:latin typeface="Roboto Light"/>
              </a:defRPr>
            </a:lvl9pPr>
          </a:lstStyle>
          <a:p>
            <a:pPr lvl="0"/>
            <a:r>
              <a:rPr lang="nl-NL"/>
              <a:t>Het </a:t>
            </a:r>
            <a:r>
              <a:rPr lang="nl-NL" err="1"/>
              <a:t>titelvak</a:t>
            </a:r>
            <a:r>
              <a:rPr lang="nl-NL"/>
              <a:t> is opgemaakt in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light.</a:t>
            </a:r>
            <a:br>
              <a:rPr lang="nl-NL"/>
            </a:br>
            <a:r>
              <a:rPr lang="nl-NL"/>
              <a:t>Om woorden te accentueren: kies </a:t>
            </a:r>
            <a:r>
              <a:rPr lang="nl-NL" err="1"/>
              <a:t>Roboto</a:t>
            </a:r>
            <a:r>
              <a:rPr lang="nl-NL"/>
              <a:t> </a:t>
            </a:r>
            <a:r>
              <a:rPr lang="nl-NL" err="1"/>
              <a:t>condensed</a:t>
            </a:r>
            <a:r>
              <a:rPr lang="nl-NL"/>
              <a:t> </a:t>
            </a:r>
            <a:r>
              <a:rPr lang="nl-NL" err="1"/>
              <a:t>bold</a:t>
            </a:r>
            <a:endParaRPr lang="nl-NL"/>
          </a:p>
        </p:txBody>
      </p:sp>
      <p:sp>
        <p:nvSpPr>
          <p:cNvPr id="16" name="Hoofdstuk (JU-Free)">
            <a:extLst>
              <a:ext uri="{FF2B5EF4-FFF2-40B4-BE49-F238E27FC236}">
                <a16:creationId xmlns:a16="http://schemas.microsoft.com/office/drawing/2014/main" id="{179A5F75-9E9D-934F-A5DA-6BB86FE75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271221" y="2515051"/>
            <a:ext cx="4392000" cy="432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accent5"/>
                </a:solidFill>
                <a:latin typeface="+mn-lt"/>
                <a:ea typeface="Roboto" panose="02000000000000000000" pitchFamily="2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9pPr>
          </a:lstStyle>
          <a:p>
            <a:pPr lvl="0"/>
            <a:r>
              <a:rPr lang="nl-NL"/>
              <a:t>[Hoofdstuk nummer]</a:t>
            </a:r>
          </a:p>
        </p:txBody>
      </p:sp>
    </p:spTree>
    <p:extLst>
      <p:ext uri="{BB962C8B-B14F-4D97-AF65-F5344CB8AC3E}">
        <p14:creationId xmlns:p14="http://schemas.microsoft.com/office/powerpoint/2010/main" val="24508504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Afbeelding 6">
            <a:extLst>
              <a:ext uri="{FF2B5EF4-FFF2-40B4-BE49-F238E27FC236}">
                <a16:creationId xmlns:a16="http://schemas.microsoft.com/office/drawing/2014/main" id="{5A16BAB1-73B6-F249-90AB-4E9016EDFD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701" r="675" b="1701"/>
          <a:stretch/>
        </p:blipFill>
        <p:spPr>
          <a:xfrm>
            <a:off x="5225143" y="0"/>
            <a:ext cx="6966857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930350-6D73-FD4C-9FA9-E4B34634C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13" name="Tijdelijke aanduiding voor tekst 21">
            <a:extLst>
              <a:ext uri="{FF2B5EF4-FFF2-40B4-BE49-F238E27FC236}">
                <a16:creationId xmlns:a16="http://schemas.microsoft.com/office/drawing/2014/main" id="{922E11F0-D935-E043-917A-37B63A5BBE36}"/>
              </a:ext>
            </a:extLst>
          </p:cNvPr>
          <p:cNvSpPr>
            <a:spLocks noGrp="1"/>
          </p:cNvSpPr>
          <p:nvPr>
            <p:ph type="body" sz="quarter" idx="1006"/>
          </p:nvPr>
        </p:nvSpPr>
        <p:spPr>
          <a:xfrm>
            <a:off x="648000" y="2375065"/>
            <a:ext cx="4392000" cy="3619335"/>
          </a:xfrm>
        </p:spPr>
        <p:txBody>
          <a:bodyPr/>
          <a:lstStyle>
            <a:lvl1pPr marL="342000" indent="-342000">
              <a:defRPr sz="1400" b="0" i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defRPr>
            </a:lvl1pPr>
          </a:lstStyle>
          <a:p>
            <a:pPr marL="0" indent="0">
              <a:buNone/>
            </a:pPr>
            <a:r>
              <a:rPr lang="nl-NL" err="1"/>
              <a:t>Lorem</a:t>
            </a:r>
            <a:r>
              <a:rPr lang="nl-NL"/>
              <a:t> </a:t>
            </a:r>
            <a:r>
              <a:rPr lang="nl-NL" err="1"/>
              <a:t>ipsum</a:t>
            </a:r>
            <a:r>
              <a:rPr lang="nl-NL"/>
              <a:t> </a:t>
            </a:r>
            <a:r>
              <a:rPr lang="nl-NL" err="1"/>
              <a:t>dolor</a:t>
            </a:r>
            <a:r>
              <a:rPr lang="nl-NL"/>
              <a:t> </a:t>
            </a:r>
            <a:r>
              <a:rPr lang="nl-NL" err="1"/>
              <a:t>sit</a:t>
            </a:r>
            <a:r>
              <a:rPr lang="nl-NL"/>
              <a:t> </a:t>
            </a:r>
            <a:r>
              <a:rPr lang="nl-NL" err="1"/>
              <a:t>amet</a:t>
            </a:r>
            <a:r>
              <a:rPr lang="nl-NL"/>
              <a:t>, </a:t>
            </a:r>
            <a:r>
              <a:rPr lang="nl-NL" err="1"/>
              <a:t>consectetuer</a:t>
            </a:r>
            <a:r>
              <a:rPr lang="nl-NL"/>
              <a:t> </a:t>
            </a:r>
            <a:r>
              <a:rPr lang="nl-NL" err="1"/>
              <a:t>adipiscing</a:t>
            </a:r>
            <a:r>
              <a:rPr lang="nl-NL"/>
              <a:t> </a:t>
            </a:r>
            <a:r>
              <a:rPr lang="nl-NL" err="1"/>
              <a:t>elit</a:t>
            </a:r>
            <a:r>
              <a:rPr lang="nl-NL"/>
              <a:t>. </a:t>
            </a:r>
            <a:r>
              <a:rPr lang="nl-NL" err="1"/>
              <a:t>Aenean</a:t>
            </a:r>
            <a:r>
              <a:rPr lang="nl-NL"/>
              <a:t> commodo </a:t>
            </a:r>
            <a:r>
              <a:rPr lang="nl-NL" err="1"/>
              <a:t>ligula</a:t>
            </a:r>
            <a:r>
              <a:rPr lang="nl-NL"/>
              <a:t> </a:t>
            </a:r>
            <a:r>
              <a:rPr lang="nl-NL" err="1"/>
              <a:t>eget</a:t>
            </a:r>
            <a:r>
              <a:rPr lang="nl-NL"/>
              <a:t> </a:t>
            </a:r>
            <a:r>
              <a:rPr lang="nl-NL" err="1"/>
              <a:t>dolor</a:t>
            </a:r>
            <a:r>
              <a:rPr lang="nl-NL"/>
              <a:t>. </a:t>
            </a:r>
            <a:r>
              <a:rPr lang="nl-NL" err="1"/>
              <a:t>Aenean</a:t>
            </a:r>
            <a:r>
              <a:rPr lang="nl-NL"/>
              <a:t> massa. Cum </a:t>
            </a:r>
            <a:r>
              <a:rPr lang="nl-NL" err="1"/>
              <a:t>sociis</a:t>
            </a:r>
            <a:r>
              <a:rPr lang="nl-NL"/>
              <a:t> </a:t>
            </a:r>
            <a:r>
              <a:rPr lang="nl-NL" err="1"/>
              <a:t>natoque</a:t>
            </a:r>
            <a:r>
              <a:rPr lang="nl-NL"/>
              <a:t> </a:t>
            </a:r>
            <a:r>
              <a:rPr lang="nl-NL" err="1"/>
              <a:t>penatibus</a:t>
            </a:r>
            <a:r>
              <a:rPr lang="nl-NL"/>
              <a:t> et </a:t>
            </a:r>
            <a:r>
              <a:rPr lang="nl-NL" err="1"/>
              <a:t>magnis</a:t>
            </a:r>
            <a:r>
              <a:rPr lang="nl-NL"/>
              <a:t> dis </a:t>
            </a:r>
            <a:r>
              <a:rPr lang="nl-NL" err="1"/>
              <a:t>parturient</a:t>
            </a:r>
            <a:r>
              <a:rPr lang="nl-NL"/>
              <a:t> </a:t>
            </a:r>
            <a:r>
              <a:rPr lang="nl-NL" err="1"/>
              <a:t>montes</a:t>
            </a:r>
            <a:r>
              <a:rPr lang="nl-NL"/>
              <a:t>, </a:t>
            </a:r>
            <a:r>
              <a:rPr lang="nl-NL" err="1"/>
              <a:t>nascetur</a:t>
            </a:r>
            <a:r>
              <a:rPr lang="nl-NL"/>
              <a:t> </a:t>
            </a:r>
            <a:r>
              <a:rPr lang="nl-NL" err="1"/>
              <a:t>ridiculus</a:t>
            </a:r>
            <a:r>
              <a:rPr lang="nl-NL"/>
              <a:t> mus. </a:t>
            </a:r>
            <a:r>
              <a:rPr lang="nl-NL" err="1"/>
              <a:t>Donec</a:t>
            </a:r>
            <a:r>
              <a:rPr lang="nl-NL"/>
              <a:t> </a:t>
            </a:r>
            <a:r>
              <a:rPr lang="nl-NL" err="1"/>
              <a:t>quam</a:t>
            </a:r>
            <a:r>
              <a:rPr lang="nl-NL"/>
              <a:t> </a:t>
            </a:r>
            <a:r>
              <a:rPr lang="nl-NL" err="1"/>
              <a:t>felis</a:t>
            </a:r>
            <a:r>
              <a:rPr lang="nl-NL"/>
              <a:t>, </a:t>
            </a:r>
            <a:r>
              <a:rPr lang="nl-NL" err="1"/>
              <a:t>ultricies</a:t>
            </a:r>
            <a:r>
              <a:rPr lang="nl-NL"/>
              <a:t> </a:t>
            </a:r>
            <a:r>
              <a:rPr lang="nl-NL" err="1"/>
              <a:t>nec</a:t>
            </a:r>
            <a:r>
              <a:rPr lang="nl-NL"/>
              <a:t>, </a:t>
            </a:r>
            <a:r>
              <a:rPr lang="nl-NL" err="1"/>
              <a:t>pellentesque</a:t>
            </a:r>
            <a:r>
              <a:rPr lang="nl-NL"/>
              <a:t> </a:t>
            </a:r>
            <a:r>
              <a:rPr lang="nl-NL" err="1"/>
              <a:t>eu</a:t>
            </a:r>
            <a:r>
              <a:rPr lang="nl-NL"/>
              <a:t>, </a:t>
            </a:r>
            <a:r>
              <a:rPr lang="nl-NL" err="1"/>
              <a:t>pretium</a:t>
            </a:r>
            <a:r>
              <a:rPr lang="nl-NL"/>
              <a:t> </a:t>
            </a:r>
            <a:r>
              <a:rPr lang="nl-NL" err="1"/>
              <a:t>quis</a:t>
            </a:r>
            <a:r>
              <a:rPr lang="nl-NL"/>
              <a:t>, </a:t>
            </a:r>
            <a:r>
              <a:rPr lang="nl-NL" err="1"/>
              <a:t>sem</a:t>
            </a:r>
            <a:r>
              <a:rPr lang="nl-NL"/>
              <a:t>. </a:t>
            </a:r>
            <a:r>
              <a:rPr lang="nl-NL" err="1"/>
              <a:t>Nulla</a:t>
            </a:r>
            <a:r>
              <a:rPr lang="nl-NL"/>
              <a:t> </a:t>
            </a:r>
            <a:r>
              <a:rPr lang="nl-NL" err="1"/>
              <a:t>consequat</a:t>
            </a:r>
            <a:r>
              <a:rPr lang="nl-NL"/>
              <a:t> massa </a:t>
            </a:r>
            <a:r>
              <a:rPr lang="nl-NL" err="1"/>
              <a:t>quis</a:t>
            </a:r>
            <a:r>
              <a:rPr lang="nl-NL"/>
              <a:t> </a:t>
            </a:r>
            <a:r>
              <a:rPr lang="nl-NL" err="1"/>
              <a:t>enim</a:t>
            </a:r>
            <a:r>
              <a:rPr lang="nl-NL"/>
              <a:t>. </a:t>
            </a:r>
            <a:r>
              <a:rPr lang="nl-NL" err="1"/>
              <a:t>Donec</a:t>
            </a:r>
            <a:r>
              <a:rPr lang="nl-NL"/>
              <a:t> pede </a:t>
            </a:r>
            <a:r>
              <a:rPr lang="nl-NL" err="1"/>
              <a:t>justo</a:t>
            </a:r>
            <a:r>
              <a:rPr lang="nl-NL"/>
              <a:t>, </a:t>
            </a:r>
            <a:r>
              <a:rPr lang="nl-NL" err="1"/>
              <a:t>fringilla</a:t>
            </a:r>
            <a:r>
              <a:rPr lang="nl-NL"/>
              <a:t> vel, </a:t>
            </a:r>
            <a:r>
              <a:rPr lang="nl-NL" err="1"/>
              <a:t>aliquet</a:t>
            </a:r>
            <a:r>
              <a:rPr lang="nl-NL"/>
              <a:t> </a:t>
            </a:r>
            <a:r>
              <a:rPr lang="nl-NL" err="1"/>
              <a:t>nec</a:t>
            </a:r>
            <a:r>
              <a:rPr lang="nl-NL"/>
              <a:t>, </a:t>
            </a:r>
            <a:r>
              <a:rPr lang="nl-NL" err="1"/>
              <a:t>vulputate</a:t>
            </a:r>
            <a:r>
              <a:rPr lang="nl-NL"/>
              <a:t> </a:t>
            </a:r>
            <a:r>
              <a:rPr lang="nl-NL" err="1"/>
              <a:t>eget</a:t>
            </a:r>
            <a:r>
              <a:rPr lang="nl-NL"/>
              <a:t>, </a:t>
            </a:r>
            <a:r>
              <a:rPr lang="nl-NL" err="1"/>
              <a:t>arcu</a:t>
            </a:r>
            <a:r>
              <a:rPr lang="nl-NL"/>
              <a:t>. In </a:t>
            </a:r>
            <a:r>
              <a:rPr lang="nl-NL" err="1"/>
              <a:t>enim</a:t>
            </a:r>
            <a:r>
              <a:rPr lang="nl-NL"/>
              <a:t> </a:t>
            </a:r>
            <a:r>
              <a:rPr lang="nl-NL" err="1"/>
              <a:t>justo</a:t>
            </a:r>
            <a:r>
              <a:rPr lang="nl-NL"/>
              <a:t>, </a:t>
            </a:r>
            <a:r>
              <a:rPr lang="nl-NL" err="1"/>
              <a:t>rhoncus</a:t>
            </a:r>
            <a:r>
              <a:rPr lang="nl-NL"/>
              <a:t> ut, </a:t>
            </a:r>
            <a:r>
              <a:rPr lang="nl-NL" err="1"/>
              <a:t>imperdiet</a:t>
            </a:r>
            <a:r>
              <a:rPr lang="nl-NL"/>
              <a:t> a, </a:t>
            </a:r>
            <a:r>
              <a:rPr lang="nl-NL" err="1"/>
              <a:t>venenatis</a:t>
            </a:r>
            <a:r>
              <a:rPr lang="nl-NL"/>
              <a:t> vitae, </a:t>
            </a:r>
            <a:r>
              <a:rPr lang="nl-NL" err="1"/>
              <a:t>justo</a:t>
            </a:r>
            <a:r>
              <a:rPr lang="nl-NL"/>
              <a:t>. </a:t>
            </a:r>
            <a:r>
              <a:rPr lang="nl-NL" err="1"/>
              <a:t>Nullam</a:t>
            </a:r>
            <a:r>
              <a:rPr lang="nl-NL"/>
              <a:t> dictum </a:t>
            </a:r>
            <a:r>
              <a:rPr lang="nl-NL" err="1"/>
              <a:t>felis</a:t>
            </a:r>
            <a:r>
              <a:rPr lang="nl-NL"/>
              <a:t> </a:t>
            </a:r>
            <a:r>
              <a:rPr lang="nl-NL" err="1"/>
              <a:t>eu</a:t>
            </a:r>
            <a:r>
              <a:rPr lang="nl-NL"/>
              <a:t> pede </a:t>
            </a:r>
            <a:r>
              <a:rPr lang="nl-NL" err="1"/>
              <a:t>mollis</a:t>
            </a:r>
            <a:r>
              <a:rPr lang="nl-NL"/>
              <a:t> </a:t>
            </a:r>
            <a:r>
              <a:rPr lang="nl-NL" err="1"/>
              <a:t>pretium</a:t>
            </a:r>
            <a:r>
              <a:rPr lang="nl-NL"/>
              <a:t>. Integer </a:t>
            </a:r>
            <a:r>
              <a:rPr lang="nl-NL" err="1"/>
              <a:t>tincidunt</a:t>
            </a:r>
            <a:r>
              <a:rPr lang="nl-NL"/>
              <a:t>. 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3B45226-0F62-CA4B-8B8D-B626AEF0A4CC}"/>
              </a:ext>
            </a:extLst>
          </p:cNvPr>
          <p:cNvSpPr>
            <a:spLocks noGrp="1"/>
          </p:cNvSpPr>
          <p:nvPr>
            <p:ph type="body" sz="quarter" idx="1007" hasCustomPrompt="1"/>
          </p:nvPr>
        </p:nvSpPr>
        <p:spPr>
          <a:xfrm>
            <a:off x="647700" y="1565294"/>
            <a:ext cx="43920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9" name="Chart Placeholder 17">
            <a:extLst>
              <a:ext uri="{FF2B5EF4-FFF2-40B4-BE49-F238E27FC236}">
                <a16:creationId xmlns:a16="http://schemas.microsoft.com/office/drawing/2014/main" id="{2255CE41-36FA-134B-88E5-2B659A8C3CC3}"/>
              </a:ext>
            </a:extLst>
          </p:cNvPr>
          <p:cNvSpPr>
            <a:spLocks noGrp="1"/>
          </p:cNvSpPr>
          <p:nvPr>
            <p:ph type="chart" sz="quarter" idx="1008" hasCustomPrompt="1"/>
          </p:nvPr>
        </p:nvSpPr>
        <p:spPr>
          <a:xfrm>
            <a:off x="6273500" y="901700"/>
            <a:ext cx="5270500" cy="50038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nl-NL"/>
              <a:t>[Klik op het pictogram om een grafiek in te voegen]</a:t>
            </a:r>
          </a:p>
        </p:txBody>
      </p:sp>
      <p:sp>
        <p:nvSpPr>
          <p:cNvPr id="21" name="Titel 3">
            <a:extLst>
              <a:ext uri="{FF2B5EF4-FFF2-40B4-BE49-F238E27FC236}">
                <a16:creationId xmlns:a16="http://schemas.microsoft.com/office/drawing/2014/main" id="{F548B06A-1846-F441-AE2D-B2B42923CF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4313883" cy="976633"/>
          </a:xfrm>
        </p:spPr>
        <p:txBody>
          <a:bodyPr/>
          <a:lstStyle/>
          <a:p>
            <a:pPr lvl="0"/>
            <a:r>
              <a:rPr lang="nl-NL"/>
              <a:t>Tekst pagina </a:t>
            </a:r>
            <a:r>
              <a:rPr lang="nl-NL" b="1">
                <a:latin typeface="Roboto Condensed" panose="02000000000000000000" pitchFamily="2" charset="0"/>
                <a:ea typeface="Roboto Condensed" panose="02000000000000000000" pitchFamily="2" charset="0"/>
              </a:rPr>
              <a:t>Met één objec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727847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3885645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dia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89822B3-EE03-2E43-ACEB-03B1A554BE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38763" y="0"/>
            <a:ext cx="6853237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[</a:t>
            </a:r>
            <a:r>
              <a:rPr lang="en-US" err="1"/>
              <a:t>Klik</a:t>
            </a:r>
            <a:r>
              <a:rPr lang="en-US"/>
              <a:t> op het pictogram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foto</a:t>
            </a:r>
            <a:r>
              <a:rPr lang="en-US"/>
              <a:t> in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voegen</a:t>
            </a:r>
            <a:r>
              <a:rPr lang="en-US"/>
              <a:t>.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2F44E8-CBBB-5A40-9F73-8F44519B8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F7E4E97-D138-E74D-AA3A-7D2C9B5699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299" y="2515051"/>
            <a:ext cx="4392000" cy="432000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accent5"/>
                </a:solidFill>
              </a:defRPr>
            </a:lvl1pPr>
          </a:lstStyle>
          <a:p>
            <a:pPr algn="r"/>
            <a:r>
              <a:rPr lang="nl-NL"/>
              <a:t>Hoofdstuk 1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590756D-C949-D043-B8EB-FA02B76CD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805" y="3008827"/>
            <a:ext cx="4391494" cy="2808000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algn="r"/>
            <a:r>
              <a:rPr lang="nl-NL" sz="3600"/>
              <a:t>Hoofdstuk</a:t>
            </a:r>
            <a:br>
              <a:rPr lang="nl-NL" sz="3600"/>
            </a:b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Pagina</a:t>
            </a:r>
          </a:p>
        </p:txBody>
      </p:sp>
    </p:spTree>
    <p:extLst>
      <p:ext uri="{BB962C8B-B14F-4D97-AF65-F5344CB8AC3E}">
        <p14:creationId xmlns:p14="http://schemas.microsoft.com/office/powerpoint/2010/main" val="237945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abel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6">
            <a:extLst>
              <a:ext uri="{FF2B5EF4-FFF2-40B4-BE49-F238E27FC236}">
                <a16:creationId xmlns:a16="http://schemas.microsoft.com/office/drawing/2014/main" id="{F5417368-6CA5-D149-A18A-939051FBE0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639" t="1701" r="675" b="1701"/>
          <a:stretch/>
        </p:blipFill>
        <p:spPr>
          <a:xfrm>
            <a:off x="9408368" y="0"/>
            <a:ext cx="2783632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9945C4-E285-AE4E-8C63-C1EE02B20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42261F65-3DCC-6F45-801E-4BD8DC92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Oranje Tabel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pagina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BDFCD1-8CDA-C540-9B5F-EB5AD1D9FA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3" name="Tabeltitel (JU-Free)">
            <a:extLst>
              <a:ext uri="{FF2B5EF4-FFF2-40B4-BE49-F238E27FC236}">
                <a16:creationId xmlns:a16="http://schemas.microsoft.com/office/drawing/2014/main" id="{8BC10417-F34B-2747-A143-59701F1F007D}"/>
              </a:ext>
            </a:extLst>
          </p:cNvPr>
          <p:cNvSpPr>
            <a:spLocks noGrp="1"/>
          </p:cNvSpPr>
          <p:nvPr>
            <p:ph type="body" sz="quarter" idx="1006" hasCustomPrompt="1"/>
          </p:nvPr>
        </p:nvSpPr>
        <p:spPr>
          <a:xfrm>
            <a:off x="647700" y="1939555"/>
            <a:ext cx="11028363" cy="467978"/>
          </a:xfrm>
          <a:solidFill>
            <a:schemeClr val="accent1"/>
          </a:solidFill>
        </p:spPr>
        <p:txBody>
          <a:bodyPr/>
          <a:lstStyle>
            <a:lvl1pPr marL="108000" indent="0">
              <a:lnSpc>
                <a:spcPct val="150000"/>
              </a:lnSpc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6000" indent="0">
              <a:lnSpc>
                <a:spcPct val="150000"/>
              </a:lnSpc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36000" indent="0">
              <a:lnSpc>
                <a:spcPct val="150000"/>
              </a:lnSpc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  <a:lvl6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6pPr>
            <a:lvl7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7pPr>
            <a:lvl8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8pPr>
            <a:lvl9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9pPr>
          </a:lstStyle>
          <a:p>
            <a:pPr lvl="0"/>
            <a:r>
              <a:rPr lang="nl-NL"/>
              <a:t>[Tabeltitel]</a:t>
            </a:r>
          </a:p>
          <a:p>
            <a:pPr lvl="0"/>
            <a:r>
              <a:rPr lang="nl-NL"/>
              <a:t>JU-LEVEL1=</a:t>
            </a:r>
          </a:p>
          <a:p>
            <a:pPr lvl="1"/>
            <a:r>
              <a:rPr lang="nl-NL"/>
              <a:t>JU-LEVEL2=</a:t>
            </a:r>
          </a:p>
          <a:p>
            <a:pPr lvl="2"/>
            <a:r>
              <a:rPr lang="nl-NL"/>
              <a:t>JU-LEVEL3=</a:t>
            </a:r>
          </a:p>
          <a:p>
            <a:pPr lvl="3"/>
            <a:r>
              <a:rPr lang="nl-NL"/>
              <a:t>JU-LEVEL4=</a:t>
            </a:r>
          </a:p>
          <a:p>
            <a:pPr lvl="4"/>
            <a:r>
              <a:rPr lang="nl-NL"/>
              <a:t>JU-LEVEL5=</a:t>
            </a:r>
          </a:p>
          <a:p>
            <a:pPr lvl="5"/>
            <a:r>
              <a:rPr lang="nl-NL"/>
              <a:t>JU-LEVEL6=</a:t>
            </a:r>
          </a:p>
          <a:p>
            <a:pPr lvl="6"/>
            <a:r>
              <a:rPr lang="nl-NL"/>
              <a:t>JU-LEVEL7=</a:t>
            </a:r>
          </a:p>
          <a:p>
            <a:pPr lvl="7"/>
            <a:r>
              <a:rPr lang="nl-NL"/>
              <a:t>JU-LEVEL8=</a:t>
            </a:r>
          </a:p>
          <a:p>
            <a:pPr lvl="8"/>
            <a:r>
              <a:rPr lang="nl-NL"/>
              <a:t>JU-LEVEL9=</a:t>
            </a:r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52EA1AA5-B534-F047-A504-4B6864D9411B}"/>
              </a:ext>
            </a:extLst>
          </p:cNvPr>
          <p:cNvSpPr>
            <a:spLocks noGrp="1"/>
          </p:cNvSpPr>
          <p:nvPr>
            <p:ph type="tbl" sz="quarter" idx="1007" hasCustomPrompt="1"/>
          </p:nvPr>
        </p:nvSpPr>
        <p:spPr>
          <a:xfrm>
            <a:off x="647700" y="2407534"/>
            <a:ext cx="11028363" cy="2796292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[Klik op het pictogram om een tabel in te voegen] </a:t>
            </a:r>
          </a:p>
        </p:txBody>
      </p:sp>
    </p:spTree>
    <p:extLst>
      <p:ext uri="{BB962C8B-B14F-4D97-AF65-F5344CB8AC3E}">
        <p14:creationId xmlns:p14="http://schemas.microsoft.com/office/powerpoint/2010/main" val="1750162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abel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6">
            <a:extLst>
              <a:ext uri="{FF2B5EF4-FFF2-40B4-BE49-F238E27FC236}">
                <a16:creationId xmlns:a16="http://schemas.microsoft.com/office/drawing/2014/main" id="{9F32A938-4545-FE4B-8B43-C2173BEAB2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639" t="1701" r="675" b="1701"/>
          <a:stretch/>
        </p:blipFill>
        <p:spPr>
          <a:xfrm>
            <a:off x="9408368" y="0"/>
            <a:ext cx="2783632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10F865-EBD4-894B-92A2-6A7C94A68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497B95-9F31-6943-9D93-FE251E51B5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8" name="Tabeltitel (JU-Free)">
            <a:extLst>
              <a:ext uri="{FF2B5EF4-FFF2-40B4-BE49-F238E27FC236}">
                <a16:creationId xmlns:a16="http://schemas.microsoft.com/office/drawing/2014/main" id="{BBB67083-15AD-EE4F-88E8-1845D8E1F9D9}"/>
              </a:ext>
            </a:extLst>
          </p:cNvPr>
          <p:cNvSpPr>
            <a:spLocks noGrp="1"/>
          </p:cNvSpPr>
          <p:nvPr>
            <p:ph type="body" sz="quarter" idx="1006" hasCustomPrompt="1"/>
          </p:nvPr>
        </p:nvSpPr>
        <p:spPr>
          <a:xfrm>
            <a:off x="647700" y="1939555"/>
            <a:ext cx="11028363" cy="467978"/>
          </a:xfrm>
          <a:solidFill>
            <a:schemeClr val="accent4"/>
          </a:solidFill>
        </p:spPr>
        <p:txBody>
          <a:bodyPr/>
          <a:lstStyle>
            <a:lvl1pPr marL="108000" indent="0">
              <a:lnSpc>
                <a:spcPct val="150000"/>
              </a:lnSpc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6000" indent="0">
              <a:lnSpc>
                <a:spcPct val="150000"/>
              </a:lnSpc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36000" indent="0">
              <a:lnSpc>
                <a:spcPct val="150000"/>
              </a:lnSpc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  <a:lvl6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6pPr>
            <a:lvl7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7pPr>
            <a:lvl8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8pPr>
            <a:lvl9pPr marL="36000" indent="0">
              <a:lnSpc>
                <a:spcPct val="150000"/>
              </a:lnSpc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9pPr>
          </a:lstStyle>
          <a:p>
            <a:pPr lvl="0"/>
            <a:r>
              <a:rPr lang="nl-NL"/>
              <a:t>[Tabeltitel]</a:t>
            </a:r>
          </a:p>
          <a:p>
            <a:pPr lvl="0"/>
            <a:r>
              <a:rPr lang="nl-NL"/>
              <a:t>JU-LEVEL1=</a:t>
            </a:r>
          </a:p>
          <a:p>
            <a:pPr lvl="1"/>
            <a:r>
              <a:rPr lang="nl-NL"/>
              <a:t>JU-LEVEL2=</a:t>
            </a:r>
          </a:p>
          <a:p>
            <a:pPr lvl="2"/>
            <a:r>
              <a:rPr lang="nl-NL"/>
              <a:t>JU-LEVEL3=</a:t>
            </a:r>
          </a:p>
          <a:p>
            <a:pPr lvl="3"/>
            <a:r>
              <a:rPr lang="nl-NL"/>
              <a:t>JU-LEVEL4=</a:t>
            </a:r>
          </a:p>
          <a:p>
            <a:pPr lvl="4"/>
            <a:r>
              <a:rPr lang="nl-NL"/>
              <a:t>JU-LEVEL5=</a:t>
            </a:r>
          </a:p>
          <a:p>
            <a:pPr lvl="5"/>
            <a:r>
              <a:rPr lang="nl-NL"/>
              <a:t>JU-LEVEL6=</a:t>
            </a:r>
          </a:p>
          <a:p>
            <a:pPr lvl="6"/>
            <a:r>
              <a:rPr lang="nl-NL"/>
              <a:t>JU-LEVEL7=</a:t>
            </a:r>
          </a:p>
          <a:p>
            <a:pPr lvl="7"/>
            <a:r>
              <a:rPr lang="nl-NL"/>
              <a:t>JU-LEVEL8=</a:t>
            </a:r>
          </a:p>
          <a:p>
            <a:pPr lvl="8"/>
            <a:r>
              <a:rPr lang="nl-NL"/>
              <a:t>JU-LEVEL9=</a:t>
            </a:r>
          </a:p>
        </p:txBody>
      </p:sp>
      <p:sp>
        <p:nvSpPr>
          <p:cNvPr id="9" name="Table Placeholder 14">
            <a:extLst>
              <a:ext uri="{FF2B5EF4-FFF2-40B4-BE49-F238E27FC236}">
                <a16:creationId xmlns:a16="http://schemas.microsoft.com/office/drawing/2014/main" id="{A76684AB-DF38-2942-9067-BC1944CE5A50}"/>
              </a:ext>
            </a:extLst>
          </p:cNvPr>
          <p:cNvSpPr>
            <a:spLocks noGrp="1"/>
          </p:cNvSpPr>
          <p:nvPr>
            <p:ph type="tbl" sz="quarter" idx="1007" hasCustomPrompt="1"/>
          </p:nvPr>
        </p:nvSpPr>
        <p:spPr>
          <a:xfrm>
            <a:off x="647700" y="2407534"/>
            <a:ext cx="11028363" cy="2796292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[Klik op het pictogram om een tabel in te voegen] </a:t>
            </a:r>
          </a:p>
        </p:txBody>
      </p:sp>
      <p:sp>
        <p:nvSpPr>
          <p:cNvPr id="11" name="Titel 4">
            <a:extLst>
              <a:ext uri="{FF2B5EF4-FFF2-40B4-BE49-F238E27FC236}">
                <a16:creationId xmlns:a16="http://schemas.microsoft.com/office/drawing/2014/main" id="{1540A4B0-C4EA-6341-92D2-95E03B4A0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Blauwe Tabel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pagina</a:t>
            </a:r>
          </a:p>
        </p:txBody>
      </p:sp>
    </p:spTree>
    <p:extLst>
      <p:ext uri="{BB962C8B-B14F-4D97-AF65-F5344CB8AC3E}">
        <p14:creationId xmlns:p14="http://schemas.microsoft.com/office/powerpoint/2010/main" val="440333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am_introductie_3p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778062B3-327F-0D45-9D00-0BEBCCCAB97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00810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38" name="Picture Placeholder 36">
            <a:extLst>
              <a:ext uri="{FF2B5EF4-FFF2-40B4-BE49-F238E27FC236}">
                <a16:creationId xmlns:a16="http://schemas.microsoft.com/office/drawing/2014/main" id="{E8986881-8B6F-1142-A0AB-CF81F7AC91C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54635" y="2151063"/>
            <a:ext cx="1744663" cy="1743075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r>
              <a:rPr lang="nl-NL"/>
              <a:t>[Klik op het pictogram om een afbeelding in te voegen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0FF533-6BF8-B84B-BC85-B3293073C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6" name="Rechthoek 6">
            <a:extLst>
              <a:ext uri="{FF2B5EF4-FFF2-40B4-BE49-F238E27FC236}">
                <a16:creationId xmlns:a16="http://schemas.microsoft.com/office/drawing/2014/main" id="{0C64D1FC-D14C-F842-B7C7-BA28E7E14F44}"/>
              </a:ext>
            </a:extLst>
          </p:cNvPr>
          <p:cNvSpPr/>
          <p:nvPr userDrawn="1"/>
        </p:nvSpPr>
        <p:spPr>
          <a:xfrm>
            <a:off x="3764100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itel 4">
            <a:extLst>
              <a:ext uri="{FF2B5EF4-FFF2-40B4-BE49-F238E27FC236}">
                <a16:creationId xmlns:a16="http://schemas.microsoft.com/office/drawing/2014/main" id="{39904768-0A8E-6B4E-9B13-14615E94F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592225"/>
            <a:ext cx="8549788" cy="449275"/>
          </a:xfrm>
        </p:spPr>
        <p:txBody>
          <a:bodyPr/>
          <a:lstStyle>
            <a:lvl1pPr>
              <a:defRPr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nl-NL" sz="3600"/>
              <a:t>Team – </a:t>
            </a:r>
            <a:r>
              <a:rPr lang="nl-NL" sz="3600" b="1">
                <a:latin typeface="Roboto Condensed" panose="02000000000000000000" pitchFamily="2" charset="0"/>
                <a:ea typeface="Roboto Condensed" panose="02000000000000000000" pitchFamily="2" charset="0"/>
              </a:rPr>
              <a:t>2 personen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48BE616-AFF4-5B40-BB1C-89DEABCB83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1041500"/>
            <a:ext cx="5448300" cy="511175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9245E2C-6DA7-0244-BCD6-F49972437C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0729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BBAFBFC-6669-E942-B0C7-91E147B5CD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0729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136DE88-D18D-B04C-8017-B07486348B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90729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  <p:sp>
        <p:nvSpPr>
          <p:cNvPr id="26" name="Rechthoek 6">
            <a:extLst>
              <a:ext uri="{FF2B5EF4-FFF2-40B4-BE49-F238E27FC236}">
                <a16:creationId xmlns:a16="http://schemas.microsoft.com/office/drawing/2014/main" id="{742D9323-E269-BD44-9382-31717A9ED263}"/>
              </a:ext>
            </a:extLst>
          </p:cNvPr>
          <p:cNvSpPr/>
          <p:nvPr userDrawn="1"/>
        </p:nvSpPr>
        <p:spPr>
          <a:xfrm>
            <a:off x="6218469" y="1909332"/>
            <a:ext cx="2217600" cy="3830959"/>
          </a:xfrm>
          <a:prstGeom prst="rect">
            <a:avLst/>
          </a:prstGeom>
          <a:noFill/>
          <a:ln w="12700">
            <a:solidFill>
              <a:srgbClr val="E1E1E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D874742A-8F2F-CF4A-82FE-C084EBEC7D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5098" y="4160017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GB"/>
              <a:t>NAAM</a:t>
            </a:r>
            <a:endParaRPr lang="nl-NL"/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8E7D2A73-6E5E-A648-BC54-274AC054DC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45098" y="4372571"/>
            <a:ext cx="1854200" cy="255588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GB"/>
              <a:t>FUNCTIE</a:t>
            </a:r>
            <a:endParaRPr lang="nl-NL"/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A91E91B2-14F8-E542-9C8A-B0B3E396B4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45098" y="4800843"/>
            <a:ext cx="1854200" cy="255588"/>
          </a:xfrm>
        </p:spPr>
        <p:txBody>
          <a:bodyPr/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GB"/>
              <a:t>Uni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01676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achtergrond"/>
          <p:cNvSpPr>
            <a:spLocks noSelect="1"/>
          </p:cNvSpPr>
          <p:nvPr userDrawn="1"/>
        </p:nvSpPr>
        <p:spPr bwMode="gray">
          <a:xfrm>
            <a:off x="-12815" y="6106308"/>
            <a:ext cx="1386154" cy="305949"/>
          </a:xfrm>
          <a:custGeom>
            <a:avLst/>
            <a:gdLst>
              <a:gd name="T0" fmla="*/ 172 w 1255"/>
              <a:gd name="T1" fmla="*/ 56 h 277"/>
              <a:gd name="T2" fmla="*/ 0 w 1255"/>
              <a:gd name="T3" fmla="*/ 56 h 277"/>
              <a:gd name="T4" fmla="*/ 0 w 1255"/>
              <a:gd name="T5" fmla="*/ 221 h 277"/>
              <a:gd name="T6" fmla="*/ 176 w 1255"/>
              <a:gd name="T7" fmla="*/ 221 h 277"/>
              <a:gd name="T8" fmla="*/ 196 w 1255"/>
              <a:gd name="T9" fmla="*/ 277 h 277"/>
              <a:gd name="T10" fmla="*/ 350 w 1255"/>
              <a:gd name="T11" fmla="*/ 221 h 277"/>
              <a:gd name="T12" fmla="*/ 1255 w 1255"/>
              <a:gd name="T13" fmla="*/ 221 h 277"/>
              <a:gd name="T14" fmla="*/ 1255 w 1255"/>
              <a:gd name="T15" fmla="*/ 56 h 277"/>
              <a:gd name="T16" fmla="*/ 346 w 1255"/>
              <a:gd name="T17" fmla="*/ 56 h 277"/>
              <a:gd name="T18" fmla="*/ 326 w 1255"/>
              <a:gd name="T19" fmla="*/ 0 h 277"/>
              <a:gd name="T20" fmla="*/ 172 w 1255"/>
              <a:gd name="T21" fmla="*/ 5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5" h="277">
                <a:moveTo>
                  <a:pt x="172" y="56"/>
                </a:moveTo>
                <a:lnTo>
                  <a:pt x="0" y="56"/>
                </a:lnTo>
                <a:lnTo>
                  <a:pt x="0" y="221"/>
                </a:lnTo>
                <a:lnTo>
                  <a:pt x="176" y="221"/>
                </a:lnTo>
                <a:lnTo>
                  <a:pt x="196" y="277"/>
                </a:lnTo>
                <a:lnTo>
                  <a:pt x="350" y="221"/>
                </a:lnTo>
                <a:lnTo>
                  <a:pt x="1255" y="221"/>
                </a:lnTo>
                <a:lnTo>
                  <a:pt x="1255" y="56"/>
                </a:lnTo>
                <a:lnTo>
                  <a:pt x="346" y="56"/>
                </a:lnTo>
                <a:lnTo>
                  <a:pt x="326" y="0"/>
                </a:lnTo>
                <a:lnTo>
                  <a:pt x="172" y="56"/>
                </a:lnTo>
                <a:close/>
              </a:path>
            </a:pathLst>
          </a:custGeom>
          <a:solidFill>
            <a:srgbClr val="F58220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nl-NL"/>
          </a:p>
        </p:txBody>
      </p:sp>
      <p:sp>
        <p:nvSpPr>
          <p:cNvPr id="14" name="Logo tekst"/>
          <p:cNvSpPr>
            <a:spLocks noSelect="1"/>
          </p:cNvSpPr>
          <p:nvPr userDrawn="1"/>
        </p:nvSpPr>
        <p:spPr bwMode="gray">
          <a:xfrm>
            <a:off x="166115" y="6136130"/>
            <a:ext cx="1065847" cy="236365"/>
          </a:xfrm>
          <a:custGeom>
            <a:avLst/>
            <a:gdLst>
              <a:gd name="T0" fmla="*/ 12 w 1930"/>
              <a:gd name="T1" fmla="*/ 292 h 428"/>
              <a:gd name="T2" fmla="*/ 1064 w 1930"/>
              <a:gd name="T3" fmla="*/ 223 h 428"/>
              <a:gd name="T4" fmla="*/ 821 w 1930"/>
              <a:gd name="T5" fmla="*/ 366 h 428"/>
              <a:gd name="T6" fmla="*/ 916 w 1930"/>
              <a:gd name="T7" fmla="*/ 83 h 428"/>
              <a:gd name="T8" fmla="*/ 1011 w 1930"/>
              <a:gd name="T9" fmla="*/ 220 h 428"/>
              <a:gd name="T10" fmla="*/ 874 w 1930"/>
              <a:gd name="T11" fmla="*/ 128 h 428"/>
              <a:gd name="T12" fmla="*/ 907 w 1930"/>
              <a:gd name="T13" fmla="*/ 321 h 428"/>
              <a:gd name="T14" fmla="*/ 1170 w 1930"/>
              <a:gd name="T15" fmla="*/ 366 h 428"/>
              <a:gd name="T16" fmla="*/ 1226 w 1930"/>
              <a:gd name="T17" fmla="*/ 83 h 428"/>
              <a:gd name="T18" fmla="*/ 1170 w 1930"/>
              <a:gd name="T19" fmla="*/ 366 h 428"/>
              <a:gd name="T20" fmla="*/ 1394 w 1930"/>
              <a:gd name="T21" fmla="*/ 75 h 428"/>
              <a:gd name="T22" fmla="*/ 1343 w 1930"/>
              <a:gd name="T23" fmla="*/ 366 h 428"/>
              <a:gd name="T24" fmla="*/ 1391 w 1930"/>
              <a:gd name="T25" fmla="*/ 156 h 428"/>
              <a:gd name="T26" fmla="*/ 1522 w 1930"/>
              <a:gd name="T27" fmla="*/ 371 h 428"/>
              <a:gd name="T28" fmla="*/ 1578 w 1930"/>
              <a:gd name="T29" fmla="*/ 83 h 428"/>
              <a:gd name="T30" fmla="*/ 1528 w 1930"/>
              <a:gd name="T31" fmla="*/ 293 h 428"/>
              <a:gd name="T32" fmla="*/ 1880 w 1930"/>
              <a:gd name="T33" fmla="*/ 371 h 428"/>
              <a:gd name="T34" fmla="*/ 1754 w 1930"/>
              <a:gd name="T35" fmla="*/ 290 h 428"/>
              <a:gd name="T36" fmla="*/ 1673 w 1930"/>
              <a:gd name="T37" fmla="*/ 355 h 428"/>
              <a:gd name="T38" fmla="*/ 1830 w 1930"/>
              <a:gd name="T39" fmla="*/ 83 h 428"/>
              <a:gd name="T40" fmla="*/ 1838 w 1930"/>
              <a:gd name="T41" fmla="*/ 248 h 428"/>
              <a:gd name="T42" fmla="*/ 1768 w 1930"/>
              <a:gd name="T43" fmla="*/ 248 h 428"/>
              <a:gd name="T44" fmla="*/ 13 w 1930"/>
              <a:gd name="T45" fmla="*/ 292 h 428"/>
              <a:gd name="T46" fmla="*/ 13 w 1930"/>
              <a:gd name="T47" fmla="*/ 292 h 428"/>
              <a:gd name="T48" fmla="*/ 378 w 1930"/>
              <a:gd name="T49" fmla="*/ 308 h 428"/>
              <a:gd name="T50" fmla="*/ 114 w 1930"/>
              <a:gd name="T51" fmla="*/ 403 h 428"/>
              <a:gd name="T52" fmla="*/ 0 w 1930"/>
              <a:gd name="T53" fmla="*/ 223 h 428"/>
              <a:gd name="T54" fmla="*/ 131 w 1930"/>
              <a:gd name="T55" fmla="*/ 36 h 428"/>
              <a:gd name="T56" fmla="*/ 329 w 1930"/>
              <a:gd name="T57" fmla="*/ 174 h 428"/>
              <a:gd name="T58" fmla="*/ 72 w 1930"/>
              <a:gd name="T59" fmla="*/ 165 h 428"/>
              <a:gd name="T60" fmla="*/ 68 w 1930"/>
              <a:gd name="T61" fmla="*/ 272 h 428"/>
              <a:gd name="T62" fmla="*/ 246 w 1930"/>
              <a:gd name="T63" fmla="*/ 355 h 428"/>
              <a:gd name="T64" fmla="*/ 329 w 1930"/>
              <a:gd name="T65" fmla="*/ 174 h 428"/>
              <a:gd name="T66" fmla="*/ 734 w 1930"/>
              <a:gd name="T67" fmla="*/ 352 h 428"/>
              <a:gd name="T68" fmla="*/ 602 w 1930"/>
              <a:gd name="T69" fmla="*/ 262 h 428"/>
              <a:gd name="T70" fmla="*/ 566 w 1930"/>
              <a:gd name="T71" fmla="*/ 251 h 428"/>
              <a:gd name="T72" fmla="*/ 513 w 1930"/>
              <a:gd name="T73" fmla="*/ 366 h 428"/>
              <a:gd name="T74" fmla="*/ 605 w 1930"/>
              <a:gd name="T75" fmla="*/ 83 h 428"/>
              <a:gd name="T76" fmla="*/ 647 w 1930"/>
              <a:gd name="T77" fmla="*/ 237 h 428"/>
              <a:gd name="T78" fmla="*/ 600 w 1930"/>
              <a:gd name="T79" fmla="*/ 125 h 428"/>
              <a:gd name="T80" fmla="*/ 569 w 1930"/>
              <a:gd name="T81" fmla="*/ 209 h 428"/>
              <a:gd name="T82" fmla="*/ 647 w 1930"/>
              <a:gd name="T83" fmla="*/ 165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930" h="428">
                <a:moveTo>
                  <a:pt x="12" y="291"/>
                </a:moveTo>
                <a:cubicBezTo>
                  <a:pt x="12" y="292"/>
                  <a:pt x="12" y="292"/>
                  <a:pt x="12" y="292"/>
                </a:cubicBezTo>
                <a:cubicBezTo>
                  <a:pt x="12" y="291"/>
                  <a:pt x="12" y="291"/>
                  <a:pt x="12" y="291"/>
                </a:cubicBezTo>
                <a:close/>
                <a:moveTo>
                  <a:pt x="1064" y="223"/>
                </a:moveTo>
                <a:cubicBezTo>
                  <a:pt x="1064" y="308"/>
                  <a:pt x="993" y="365"/>
                  <a:pt x="918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3" y="83"/>
                  <a:pt x="823" y="83"/>
                  <a:pt x="823" y="83"/>
                </a:cubicBezTo>
                <a:cubicBezTo>
                  <a:pt x="916" y="83"/>
                  <a:pt x="916" y="83"/>
                  <a:pt x="916" y="83"/>
                </a:cubicBezTo>
                <a:cubicBezTo>
                  <a:pt x="1005" y="82"/>
                  <a:pt x="1064" y="138"/>
                  <a:pt x="1064" y="223"/>
                </a:cubicBezTo>
                <a:close/>
                <a:moveTo>
                  <a:pt x="1011" y="220"/>
                </a:moveTo>
                <a:cubicBezTo>
                  <a:pt x="1009" y="168"/>
                  <a:pt x="973" y="127"/>
                  <a:pt x="918" y="128"/>
                </a:cubicBezTo>
                <a:cubicBezTo>
                  <a:pt x="874" y="128"/>
                  <a:pt x="874" y="128"/>
                  <a:pt x="874" y="128"/>
                </a:cubicBezTo>
                <a:cubicBezTo>
                  <a:pt x="874" y="321"/>
                  <a:pt x="874" y="321"/>
                  <a:pt x="874" y="321"/>
                </a:cubicBezTo>
                <a:cubicBezTo>
                  <a:pt x="907" y="321"/>
                  <a:pt x="907" y="321"/>
                  <a:pt x="907" y="321"/>
                </a:cubicBezTo>
                <a:cubicBezTo>
                  <a:pt x="968" y="320"/>
                  <a:pt x="1009" y="285"/>
                  <a:pt x="1011" y="220"/>
                </a:cubicBezTo>
                <a:close/>
                <a:moveTo>
                  <a:pt x="1170" y="366"/>
                </a:moveTo>
                <a:cubicBezTo>
                  <a:pt x="1223" y="366"/>
                  <a:pt x="1223" y="366"/>
                  <a:pt x="1223" y="366"/>
                </a:cubicBezTo>
                <a:cubicBezTo>
                  <a:pt x="1226" y="83"/>
                  <a:pt x="1226" y="83"/>
                  <a:pt x="1226" y="83"/>
                </a:cubicBezTo>
                <a:cubicBezTo>
                  <a:pt x="1173" y="83"/>
                  <a:pt x="1173" y="83"/>
                  <a:pt x="1173" y="83"/>
                </a:cubicBezTo>
                <a:lnTo>
                  <a:pt x="1170" y="366"/>
                </a:lnTo>
                <a:close/>
                <a:moveTo>
                  <a:pt x="1528" y="293"/>
                </a:moveTo>
                <a:cubicBezTo>
                  <a:pt x="1394" y="75"/>
                  <a:pt x="1394" y="75"/>
                  <a:pt x="1394" y="75"/>
                </a:cubicBezTo>
                <a:cubicBezTo>
                  <a:pt x="1346" y="92"/>
                  <a:pt x="1346" y="92"/>
                  <a:pt x="1346" y="92"/>
                </a:cubicBezTo>
                <a:cubicBezTo>
                  <a:pt x="1343" y="366"/>
                  <a:pt x="1343" y="366"/>
                  <a:pt x="1343" y="366"/>
                </a:cubicBezTo>
                <a:cubicBezTo>
                  <a:pt x="1396" y="366"/>
                  <a:pt x="1396" y="366"/>
                  <a:pt x="1396" y="366"/>
                </a:cubicBezTo>
                <a:cubicBezTo>
                  <a:pt x="1391" y="156"/>
                  <a:pt x="1391" y="156"/>
                  <a:pt x="1391" y="156"/>
                </a:cubicBezTo>
                <a:cubicBezTo>
                  <a:pt x="1394" y="156"/>
                  <a:pt x="1394" y="156"/>
                  <a:pt x="1394" y="156"/>
                </a:cubicBezTo>
                <a:cubicBezTo>
                  <a:pt x="1522" y="371"/>
                  <a:pt x="1522" y="371"/>
                  <a:pt x="1522" y="371"/>
                </a:cubicBezTo>
                <a:cubicBezTo>
                  <a:pt x="1575" y="355"/>
                  <a:pt x="1575" y="355"/>
                  <a:pt x="1575" y="355"/>
                </a:cubicBezTo>
                <a:cubicBezTo>
                  <a:pt x="1578" y="83"/>
                  <a:pt x="1578" y="83"/>
                  <a:pt x="1578" y="83"/>
                </a:cubicBezTo>
                <a:cubicBezTo>
                  <a:pt x="1525" y="83"/>
                  <a:pt x="1525" y="83"/>
                  <a:pt x="1525" y="83"/>
                </a:cubicBezTo>
                <a:lnTo>
                  <a:pt x="1528" y="293"/>
                </a:lnTo>
                <a:close/>
                <a:moveTo>
                  <a:pt x="1930" y="355"/>
                </a:moveTo>
                <a:cubicBezTo>
                  <a:pt x="1880" y="371"/>
                  <a:pt x="1880" y="371"/>
                  <a:pt x="1880" y="371"/>
                </a:cubicBezTo>
                <a:cubicBezTo>
                  <a:pt x="1852" y="290"/>
                  <a:pt x="1852" y="290"/>
                  <a:pt x="1852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21" y="371"/>
                  <a:pt x="1721" y="371"/>
                  <a:pt x="1721" y="371"/>
                </a:cubicBezTo>
                <a:cubicBezTo>
                  <a:pt x="1673" y="355"/>
                  <a:pt x="1673" y="355"/>
                  <a:pt x="1673" y="355"/>
                </a:cubicBezTo>
                <a:cubicBezTo>
                  <a:pt x="1782" y="83"/>
                  <a:pt x="1782" y="83"/>
                  <a:pt x="1782" y="83"/>
                </a:cubicBezTo>
                <a:cubicBezTo>
                  <a:pt x="1830" y="83"/>
                  <a:pt x="1830" y="83"/>
                  <a:pt x="1830" y="83"/>
                </a:cubicBezTo>
                <a:lnTo>
                  <a:pt x="1930" y="355"/>
                </a:lnTo>
                <a:close/>
                <a:moveTo>
                  <a:pt x="1838" y="248"/>
                </a:moveTo>
                <a:cubicBezTo>
                  <a:pt x="1805" y="137"/>
                  <a:pt x="1805" y="137"/>
                  <a:pt x="1805" y="137"/>
                </a:cubicBezTo>
                <a:cubicBezTo>
                  <a:pt x="1768" y="248"/>
                  <a:pt x="1768" y="248"/>
                  <a:pt x="1768" y="248"/>
                </a:cubicBezTo>
                <a:lnTo>
                  <a:pt x="1838" y="248"/>
                </a:lnTo>
                <a:close/>
                <a:moveTo>
                  <a:pt x="13" y="292"/>
                </a:moveTo>
                <a:cubicBezTo>
                  <a:pt x="13" y="292"/>
                  <a:pt x="13" y="292"/>
                  <a:pt x="13" y="292"/>
                </a:cubicBezTo>
                <a:cubicBezTo>
                  <a:pt x="13" y="292"/>
                  <a:pt x="13" y="292"/>
                  <a:pt x="13" y="292"/>
                </a:cubicBezTo>
                <a:close/>
                <a:moveTo>
                  <a:pt x="384" y="154"/>
                </a:moveTo>
                <a:cubicBezTo>
                  <a:pt x="403" y="205"/>
                  <a:pt x="400" y="259"/>
                  <a:pt x="378" y="308"/>
                </a:cubicBezTo>
                <a:cubicBezTo>
                  <a:pt x="356" y="356"/>
                  <a:pt x="316" y="392"/>
                  <a:pt x="266" y="410"/>
                </a:cubicBezTo>
                <a:cubicBezTo>
                  <a:pt x="216" y="428"/>
                  <a:pt x="162" y="426"/>
                  <a:pt x="114" y="403"/>
                </a:cubicBezTo>
                <a:cubicBezTo>
                  <a:pt x="66" y="381"/>
                  <a:pt x="30" y="341"/>
                  <a:pt x="13" y="292"/>
                </a:cubicBezTo>
                <a:cubicBezTo>
                  <a:pt x="4" y="269"/>
                  <a:pt x="0" y="246"/>
                  <a:pt x="0" y="223"/>
                </a:cubicBezTo>
                <a:cubicBezTo>
                  <a:pt x="0" y="195"/>
                  <a:pt x="6" y="167"/>
                  <a:pt x="18" y="141"/>
                </a:cubicBezTo>
                <a:cubicBezTo>
                  <a:pt x="40" y="92"/>
                  <a:pt x="80" y="55"/>
                  <a:pt x="131" y="36"/>
                </a:cubicBezTo>
                <a:cubicBezTo>
                  <a:pt x="234" y="0"/>
                  <a:pt x="347" y="53"/>
                  <a:pt x="384" y="154"/>
                </a:cubicBezTo>
                <a:close/>
                <a:moveTo>
                  <a:pt x="329" y="174"/>
                </a:moveTo>
                <a:cubicBezTo>
                  <a:pt x="303" y="103"/>
                  <a:pt x="223" y="66"/>
                  <a:pt x="151" y="91"/>
                </a:cubicBezTo>
                <a:cubicBezTo>
                  <a:pt x="116" y="105"/>
                  <a:pt x="87" y="131"/>
                  <a:pt x="72" y="165"/>
                </a:cubicBezTo>
                <a:cubicBezTo>
                  <a:pt x="56" y="199"/>
                  <a:pt x="55" y="237"/>
                  <a:pt x="68" y="272"/>
                </a:cubicBezTo>
                <a:cubicBezTo>
                  <a:pt x="68" y="272"/>
                  <a:pt x="68" y="272"/>
                  <a:pt x="68" y="272"/>
                </a:cubicBezTo>
                <a:cubicBezTo>
                  <a:pt x="80" y="307"/>
                  <a:pt x="106" y="334"/>
                  <a:pt x="139" y="350"/>
                </a:cubicBezTo>
                <a:cubicBezTo>
                  <a:pt x="173" y="366"/>
                  <a:pt x="211" y="368"/>
                  <a:pt x="246" y="355"/>
                </a:cubicBezTo>
                <a:cubicBezTo>
                  <a:pt x="281" y="342"/>
                  <a:pt x="309" y="316"/>
                  <a:pt x="325" y="283"/>
                </a:cubicBezTo>
                <a:cubicBezTo>
                  <a:pt x="341" y="249"/>
                  <a:pt x="342" y="210"/>
                  <a:pt x="329" y="174"/>
                </a:cubicBezTo>
                <a:close/>
                <a:moveTo>
                  <a:pt x="647" y="237"/>
                </a:moveTo>
                <a:cubicBezTo>
                  <a:pt x="734" y="352"/>
                  <a:pt x="734" y="352"/>
                  <a:pt x="734" y="352"/>
                </a:cubicBezTo>
                <a:cubicBezTo>
                  <a:pt x="681" y="371"/>
                  <a:pt x="681" y="371"/>
                  <a:pt x="681" y="371"/>
                </a:cubicBezTo>
                <a:cubicBezTo>
                  <a:pt x="602" y="262"/>
                  <a:pt x="602" y="262"/>
                  <a:pt x="602" y="262"/>
                </a:cubicBezTo>
                <a:cubicBezTo>
                  <a:pt x="598" y="255"/>
                  <a:pt x="592" y="252"/>
                  <a:pt x="583" y="251"/>
                </a:cubicBezTo>
                <a:cubicBezTo>
                  <a:pt x="566" y="251"/>
                  <a:pt x="566" y="251"/>
                  <a:pt x="566" y="251"/>
                </a:cubicBezTo>
                <a:cubicBezTo>
                  <a:pt x="566" y="366"/>
                  <a:pt x="566" y="366"/>
                  <a:pt x="566" y="366"/>
                </a:cubicBezTo>
                <a:cubicBezTo>
                  <a:pt x="513" y="366"/>
                  <a:pt x="513" y="366"/>
                  <a:pt x="513" y="366"/>
                </a:cubicBezTo>
                <a:cubicBezTo>
                  <a:pt x="516" y="83"/>
                  <a:pt x="516" y="83"/>
                  <a:pt x="516" y="83"/>
                </a:cubicBezTo>
                <a:cubicBezTo>
                  <a:pt x="605" y="83"/>
                  <a:pt x="605" y="83"/>
                  <a:pt x="605" y="83"/>
                </a:cubicBezTo>
                <a:cubicBezTo>
                  <a:pt x="674" y="83"/>
                  <a:pt x="702" y="120"/>
                  <a:pt x="703" y="165"/>
                </a:cubicBezTo>
                <a:cubicBezTo>
                  <a:pt x="702" y="200"/>
                  <a:pt x="680" y="226"/>
                  <a:pt x="647" y="237"/>
                </a:cubicBezTo>
                <a:close/>
                <a:moveTo>
                  <a:pt x="647" y="165"/>
                </a:moveTo>
                <a:cubicBezTo>
                  <a:pt x="647" y="139"/>
                  <a:pt x="625" y="125"/>
                  <a:pt x="600" y="125"/>
                </a:cubicBezTo>
                <a:cubicBezTo>
                  <a:pt x="569" y="125"/>
                  <a:pt x="569" y="125"/>
                  <a:pt x="569" y="125"/>
                </a:cubicBezTo>
                <a:cubicBezTo>
                  <a:pt x="569" y="209"/>
                  <a:pt x="569" y="209"/>
                  <a:pt x="569" y="209"/>
                </a:cubicBezTo>
                <a:cubicBezTo>
                  <a:pt x="600" y="209"/>
                  <a:pt x="600" y="209"/>
                  <a:pt x="600" y="209"/>
                </a:cubicBezTo>
                <a:cubicBezTo>
                  <a:pt x="616" y="209"/>
                  <a:pt x="647" y="202"/>
                  <a:pt x="647" y="1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nl-NL"/>
          </a:p>
        </p:txBody>
      </p:sp>
      <p:sp>
        <p:nvSpPr>
          <p:cNvPr id="17" name="Ahead of change"/>
          <p:cNvSpPr>
            <a:spLocks noSelect="1" noChangeAspect="1"/>
          </p:cNvSpPr>
          <p:nvPr userDrawn="1"/>
        </p:nvSpPr>
        <p:spPr bwMode="gray">
          <a:xfrm>
            <a:off x="463116" y="6418800"/>
            <a:ext cx="900000" cy="117288"/>
          </a:xfrm>
          <a:custGeom>
            <a:avLst/>
            <a:gdLst>
              <a:gd name="T0" fmla="*/ 2256 w 2302"/>
              <a:gd name="T1" fmla="*/ 152 h 301"/>
              <a:gd name="T2" fmla="*/ 2299 w 2302"/>
              <a:gd name="T3" fmla="*/ 177 h 301"/>
              <a:gd name="T4" fmla="*/ 2232 w 2302"/>
              <a:gd name="T5" fmla="*/ 234 h 301"/>
              <a:gd name="T6" fmla="*/ 2232 w 2302"/>
              <a:gd name="T7" fmla="*/ 199 h 301"/>
              <a:gd name="T8" fmla="*/ 2024 w 2302"/>
              <a:gd name="T9" fmla="*/ 164 h 301"/>
              <a:gd name="T10" fmla="*/ 2053 w 2302"/>
              <a:gd name="T11" fmla="*/ 197 h 301"/>
              <a:gd name="T12" fmla="*/ 2125 w 2302"/>
              <a:gd name="T13" fmla="*/ 97 h 301"/>
              <a:gd name="T14" fmla="*/ 2040 w 2302"/>
              <a:gd name="T15" fmla="*/ 94 h 301"/>
              <a:gd name="T16" fmla="*/ 2082 w 2302"/>
              <a:gd name="T17" fmla="*/ 213 h 301"/>
              <a:gd name="T18" fmla="*/ 2011 w 2302"/>
              <a:gd name="T19" fmla="*/ 245 h 301"/>
              <a:gd name="T20" fmla="*/ 1817 w 2302"/>
              <a:gd name="T21" fmla="*/ 231 h 301"/>
              <a:gd name="T22" fmla="*/ 1887 w 2302"/>
              <a:gd name="T23" fmla="*/ 133 h 301"/>
              <a:gd name="T24" fmla="*/ 1952 w 2302"/>
              <a:gd name="T25" fmla="*/ 231 h 301"/>
              <a:gd name="T26" fmla="*/ 1859 w 2302"/>
              <a:gd name="T27" fmla="*/ 119 h 301"/>
              <a:gd name="T28" fmla="*/ 1817 w 2302"/>
              <a:gd name="T29" fmla="*/ 231 h 301"/>
              <a:gd name="T30" fmla="*/ 1714 w 2302"/>
              <a:gd name="T31" fmla="*/ 132 h 301"/>
              <a:gd name="T32" fmla="*/ 1701 w 2302"/>
              <a:gd name="T33" fmla="*/ 234 h 301"/>
              <a:gd name="T34" fmla="*/ 1784 w 2302"/>
              <a:gd name="T35" fmla="*/ 231 h 301"/>
              <a:gd name="T36" fmla="*/ 1742 w 2302"/>
              <a:gd name="T37" fmla="*/ 117 h 301"/>
              <a:gd name="T38" fmla="*/ 1701 w 2302"/>
              <a:gd name="T39" fmla="*/ 234 h 301"/>
              <a:gd name="T40" fmla="*/ 1522 w 2302"/>
              <a:gd name="T41" fmla="*/ 159 h 301"/>
              <a:gd name="T42" fmla="*/ 1571 w 2302"/>
              <a:gd name="T43" fmla="*/ 231 h 301"/>
              <a:gd name="T44" fmla="*/ 1563 w 2302"/>
              <a:gd name="T45" fmla="*/ 94 h 301"/>
              <a:gd name="T46" fmla="*/ 1479 w 2302"/>
              <a:gd name="T47" fmla="*/ 4 h 301"/>
              <a:gd name="T48" fmla="*/ 1453 w 2302"/>
              <a:gd name="T49" fmla="*/ 210 h 301"/>
              <a:gd name="T50" fmla="*/ 1368 w 2302"/>
              <a:gd name="T51" fmla="*/ 164 h 301"/>
              <a:gd name="T52" fmla="*/ 1454 w 2302"/>
              <a:gd name="T53" fmla="*/ 121 h 301"/>
              <a:gd name="T54" fmla="*/ 1397 w 2302"/>
              <a:gd name="T55" fmla="*/ 234 h 301"/>
              <a:gd name="T56" fmla="*/ 1197 w 2302"/>
              <a:gd name="T57" fmla="*/ 132 h 301"/>
              <a:gd name="T58" fmla="*/ 1197 w 2302"/>
              <a:gd name="T59" fmla="*/ 97 h 301"/>
              <a:gd name="T60" fmla="*/ 1222 w 2302"/>
              <a:gd name="T61" fmla="*/ 45 h 301"/>
              <a:gd name="T62" fmla="*/ 1154 w 2302"/>
              <a:gd name="T63" fmla="*/ 52 h 301"/>
              <a:gd name="T64" fmla="*/ 1132 w 2302"/>
              <a:gd name="T65" fmla="*/ 132 h 301"/>
              <a:gd name="T66" fmla="*/ 1040 w 2302"/>
              <a:gd name="T67" fmla="*/ 198 h 301"/>
              <a:gd name="T68" fmla="*/ 1070 w 2302"/>
              <a:gd name="T69" fmla="*/ 164 h 301"/>
              <a:gd name="T70" fmla="*/ 1113 w 2302"/>
              <a:gd name="T71" fmla="*/ 164 h 301"/>
              <a:gd name="T72" fmla="*/ 1040 w 2302"/>
              <a:gd name="T73" fmla="*/ 234 h 301"/>
              <a:gd name="T74" fmla="*/ 796 w 2302"/>
              <a:gd name="T75" fmla="*/ 132 h 301"/>
              <a:gd name="T76" fmla="*/ 784 w 2302"/>
              <a:gd name="T77" fmla="*/ 234 h 301"/>
              <a:gd name="T78" fmla="*/ 867 w 2302"/>
              <a:gd name="T79" fmla="*/ 231 h 301"/>
              <a:gd name="T80" fmla="*/ 825 w 2302"/>
              <a:gd name="T81" fmla="*/ 116 h 301"/>
              <a:gd name="T82" fmla="*/ 784 w 2302"/>
              <a:gd name="T83" fmla="*/ 234 h 301"/>
              <a:gd name="T84" fmla="*/ 624 w 2302"/>
              <a:gd name="T85" fmla="*/ 132 h 301"/>
              <a:gd name="T86" fmla="*/ 611 w 2302"/>
              <a:gd name="T87" fmla="*/ 234 h 301"/>
              <a:gd name="T88" fmla="*/ 694 w 2302"/>
              <a:gd name="T89" fmla="*/ 231 h 301"/>
              <a:gd name="T90" fmla="*/ 652 w 2302"/>
              <a:gd name="T91" fmla="*/ 117 h 301"/>
              <a:gd name="T92" fmla="*/ 611 w 2302"/>
              <a:gd name="T93" fmla="*/ 234 h 301"/>
              <a:gd name="T94" fmla="*/ 484 w 2302"/>
              <a:gd name="T95" fmla="*/ 152 h 301"/>
              <a:gd name="T96" fmla="*/ 527 w 2302"/>
              <a:gd name="T97" fmla="*/ 177 h 301"/>
              <a:gd name="T98" fmla="*/ 460 w 2302"/>
              <a:gd name="T99" fmla="*/ 234 h 301"/>
              <a:gd name="T100" fmla="*/ 460 w 2302"/>
              <a:gd name="T101" fmla="*/ 199 h 301"/>
              <a:gd name="T102" fmla="*/ 262 w 2302"/>
              <a:gd name="T103" fmla="*/ 231 h 301"/>
              <a:gd name="T104" fmla="*/ 311 w 2302"/>
              <a:gd name="T105" fmla="*/ 156 h 301"/>
              <a:gd name="T106" fmla="*/ 354 w 2302"/>
              <a:gd name="T107" fmla="*/ 154 h 301"/>
              <a:gd name="T108" fmla="*/ 262 w 2302"/>
              <a:gd name="T109" fmla="*/ 4 h 301"/>
              <a:gd name="T110" fmla="*/ 68 w 2302"/>
              <a:gd name="T111" fmla="*/ 170 h 301"/>
              <a:gd name="T112" fmla="*/ 109 w 2302"/>
              <a:gd name="T113" fmla="*/ 133 h 301"/>
              <a:gd name="T114" fmla="*/ 0 w 2302"/>
              <a:gd name="T115" fmla="*/ 231 h 301"/>
              <a:gd name="T116" fmla="*/ 140 w 2302"/>
              <a:gd name="T117" fmla="*/ 207 h 301"/>
              <a:gd name="T118" fmla="*/ 98 w 2302"/>
              <a:gd name="T119" fmla="*/ 15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02" h="301">
                <a:moveTo>
                  <a:pt x="2196" y="152"/>
                </a:moveTo>
                <a:cubicBezTo>
                  <a:pt x="2200" y="136"/>
                  <a:pt x="2211" y="129"/>
                  <a:pt x="2228" y="129"/>
                </a:cubicBezTo>
                <a:cubicBezTo>
                  <a:pt x="2245" y="129"/>
                  <a:pt x="2254" y="138"/>
                  <a:pt x="2256" y="152"/>
                </a:cubicBezTo>
                <a:lnTo>
                  <a:pt x="2196" y="152"/>
                </a:lnTo>
                <a:close/>
                <a:moveTo>
                  <a:pt x="2197" y="177"/>
                </a:moveTo>
                <a:cubicBezTo>
                  <a:pt x="2299" y="177"/>
                  <a:pt x="2299" y="177"/>
                  <a:pt x="2299" y="177"/>
                </a:cubicBezTo>
                <a:cubicBezTo>
                  <a:pt x="2302" y="130"/>
                  <a:pt x="2276" y="94"/>
                  <a:pt x="2228" y="94"/>
                </a:cubicBezTo>
                <a:cubicBezTo>
                  <a:pt x="2186" y="94"/>
                  <a:pt x="2153" y="123"/>
                  <a:pt x="2153" y="164"/>
                </a:cubicBezTo>
                <a:cubicBezTo>
                  <a:pt x="2153" y="205"/>
                  <a:pt x="2184" y="234"/>
                  <a:pt x="2232" y="234"/>
                </a:cubicBezTo>
                <a:cubicBezTo>
                  <a:pt x="2260" y="234"/>
                  <a:pt x="2277" y="225"/>
                  <a:pt x="2290" y="214"/>
                </a:cubicBezTo>
                <a:cubicBezTo>
                  <a:pt x="2265" y="188"/>
                  <a:pt x="2265" y="188"/>
                  <a:pt x="2265" y="188"/>
                </a:cubicBezTo>
                <a:cubicBezTo>
                  <a:pt x="2259" y="193"/>
                  <a:pt x="2247" y="199"/>
                  <a:pt x="2232" y="199"/>
                </a:cubicBezTo>
                <a:cubicBezTo>
                  <a:pt x="2212" y="199"/>
                  <a:pt x="2201" y="191"/>
                  <a:pt x="2197" y="177"/>
                </a:cubicBezTo>
                <a:close/>
                <a:moveTo>
                  <a:pt x="2053" y="197"/>
                </a:moveTo>
                <a:cubicBezTo>
                  <a:pt x="2035" y="197"/>
                  <a:pt x="2024" y="185"/>
                  <a:pt x="2024" y="164"/>
                </a:cubicBezTo>
                <a:cubicBezTo>
                  <a:pt x="2024" y="144"/>
                  <a:pt x="2035" y="132"/>
                  <a:pt x="2053" y="132"/>
                </a:cubicBezTo>
                <a:cubicBezTo>
                  <a:pt x="2071" y="132"/>
                  <a:pt x="2083" y="144"/>
                  <a:pt x="2083" y="164"/>
                </a:cubicBezTo>
                <a:cubicBezTo>
                  <a:pt x="2083" y="185"/>
                  <a:pt x="2071" y="197"/>
                  <a:pt x="2053" y="197"/>
                </a:cubicBezTo>
                <a:close/>
                <a:moveTo>
                  <a:pt x="2052" y="301"/>
                </a:moveTo>
                <a:cubicBezTo>
                  <a:pt x="2091" y="301"/>
                  <a:pt x="2125" y="282"/>
                  <a:pt x="2125" y="231"/>
                </a:cubicBezTo>
                <a:cubicBezTo>
                  <a:pt x="2125" y="97"/>
                  <a:pt x="2125" y="97"/>
                  <a:pt x="2125" y="97"/>
                </a:cubicBezTo>
                <a:cubicBezTo>
                  <a:pt x="2082" y="97"/>
                  <a:pt x="2082" y="97"/>
                  <a:pt x="2082" y="97"/>
                </a:cubicBezTo>
                <a:cubicBezTo>
                  <a:pt x="2083" y="118"/>
                  <a:pt x="2083" y="118"/>
                  <a:pt x="2083" y="118"/>
                </a:cubicBezTo>
                <a:cubicBezTo>
                  <a:pt x="2075" y="104"/>
                  <a:pt x="2062" y="94"/>
                  <a:pt x="2040" y="94"/>
                </a:cubicBezTo>
                <a:cubicBezTo>
                  <a:pt x="2008" y="94"/>
                  <a:pt x="1980" y="122"/>
                  <a:pt x="1980" y="164"/>
                </a:cubicBezTo>
                <a:cubicBezTo>
                  <a:pt x="1980" y="205"/>
                  <a:pt x="2008" y="234"/>
                  <a:pt x="2041" y="234"/>
                </a:cubicBezTo>
                <a:cubicBezTo>
                  <a:pt x="2061" y="234"/>
                  <a:pt x="2075" y="225"/>
                  <a:pt x="2082" y="213"/>
                </a:cubicBezTo>
                <a:cubicBezTo>
                  <a:pt x="2082" y="229"/>
                  <a:pt x="2082" y="229"/>
                  <a:pt x="2082" y="229"/>
                </a:cubicBezTo>
                <a:cubicBezTo>
                  <a:pt x="2082" y="254"/>
                  <a:pt x="2070" y="265"/>
                  <a:pt x="2050" y="265"/>
                </a:cubicBezTo>
                <a:cubicBezTo>
                  <a:pt x="2031" y="265"/>
                  <a:pt x="2020" y="256"/>
                  <a:pt x="2011" y="245"/>
                </a:cubicBezTo>
                <a:cubicBezTo>
                  <a:pt x="1981" y="268"/>
                  <a:pt x="1981" y="268"/>
                  <a:pt x="1981" y="268"/>
                </a:cubicBezTo>
                <a:cubicBezTo>
                  <a:pt x="1996" y="288"/>
                  <a:pt x="2017" y="301"/>
                  <a:pt x="2052" y="301"/>
                </a:cubicBezTo>
                <a:close/>
                <a:moveTo>
                  <a:pt x="1817" y="231"/>
                </a:moveTo>
                <a:cubicBezTo>
                  <a:pt x="1860" y="231"/>
                  <a:pt x="1860" y="231"/>
                  <a:pt x="1860" y="231"/>
                </a:cubicBezTo>
                <a:cubicBezTo>
                  <a:pt x="1860" y="159"/>
                  <a:pt x="1860" y="159"/>
                  <a:pt x="1860" y="159"/>
                </a:cubicBezTo>
                <a:cubicBezTo>
                  <a:pt x="1860" y="142"/>
                  <a:pt x="1870" y="133"/>
                  <a:pt x="1887" y="133"/>
                </a:cubicBezTo>
                <a:cubicBezTo>
                  <a:pt x="1902" y="133"/>
                  <a:pt x="1909" y="141"/>
                  <a:pt x="1909" y="156"/>
                </a:cubicBezTo>
                <a:cubicBezTo>
                  <a:pt x="1909" y="231"/>
                  <a:pt x="1909" y="231"/>
                  <a:pt x="1909" y="231"/>
                </a:cubicBezTo>
                <a:cubicBezTo>
                  <a:pt x="1952" y="231"/>
                  <a:pt x="1952" y="231"/>
                  <a:pt x="1952" y="231"/>
                </a:cubicBezTo>
                <a:cubicBezTo>
                  <a:pt x="1952" y="154"/>
                  <a:pt x="1952" y="154"/>
                  <a:pt x="1952" y="154"/>
                </a:cubicBezTo>
                <a:cubicBezTo>
                  <a:pt x="1952" y="115"/>
                  <a:pt x="1931" y="94"/>
                  <a:pt x="1901" y="94"/>
                </a:cubicBezTo>
                <a:cubicBezTo>
                  <a:pt x="1883" y="94"/>
                  <a:pt x="1867" y="103"/>
                  <a:pt x="1859" y="119"/>
                </a:cubicBezTo>
                <a:cubicBezTo>
                  <a:pt x="1860" y="97"/>
                  <a:pt x="1860" y="97"/>
                  <a:pt x="1860" y="97"/>
                </a:cubicBezTo>
                <a:cubicBezTo>
                  <a:pt x="1817" y="97"/>
                  <a:pt x="1817" y="97"/>
                  <a:pt x="1817" y="97"/>
                </a:cubicBezTo>
                <a:lnTo>
                  <a:pt x="1817" y="231"/>
                </a:lnTo>
                <a:close/>
                <a:moveTo>
                  <a:pt x="1714" y="197"/>
                </a:moveTo>
                <a:cubicBezTo>
                  <a:pt x="1696" y="197"/>
                  <a:pt x="1686" y="184"/>
                  <a:pt x="1686" y="164"/>
                </a:cubicBezTo>
                <a:cubicBezTo>
                  <a:pt x="1686" y="144"/>
                  <a:pt x="1696" y="132"/>
                  <a:pt x="1714" y="132"/>
                </a:cubicBezTo>
                <a:cubicBezTo>
                  <a:pt x="1732" y="132"/>
                  <a:pt x="1742" y="144"/>
                  <a:pt x="1742" y="164"/>
                </a:cubicBezTo>
                <a:cubicBezTo>
                  <a:pt x="1742" y="184"/>
                  <a:pt x="1732" y="197"/>
                  <a:pt x="1714" y="197"/>
                </a:cubicBezTo>
                <a:close/>
                <a:moveTo>
                  <a:pt x="1701" y="234"/>
                </a:moveTo>
                <a:cubicBezTo>
                  <a:pt x="1721" y="234"/>
                  <a:pt x="1735" y="224"/>
                  <a:pt x="1742" y="211"/>
                </a:cubicBezTo>
                <a:cubicBezTo>
                  <a:pt x="1742" y="231"/>
                  <a:pt x="1742" y="231"/>
                  <a:pt x="1742" y="231"/>
                </a:cubicBezTo>
                <a:cubicBezTo>
                  <a:pt x="1784" y="231"/>
                  <a:pt x="1784" y="231"/>
                  <a:pt x="1784" y="231"/>
                </a:cubicBezTo>
                <a:cubicBezTo>
                  <a:pt x="1784" y="97"/>
                  <a:pt x="1784" y="97"/>
                  <a:pt x="1784" y="97"/>
                </a:cubicBezTo>
                <a:cubicBezTo>
                  <a:pt x="1742" y="97"/>
                  <a:pt x="1742" y="97"/>
                  <a:pt x="1742" y="97"/>
                </a:cubicBezTo>
                <a:cubicBezTo>
                  <a:pt x="1742" y="117"/>
                  <a:pt x="1742" y="117"/>
                  <a:pt x="1742" y="117"/>
                </a:cubicBezTo>
                <a:cubicBezTo>
                  <a:pt x="1735" y="103"/>
                  <a:pt x="1722" y="94"/>
                  <a:pt x="1701" y="94"/>
                </a:cubicBezTo>
                <a:cubicBezTo>
                  <a:pt x="1668" y="94"/>
                  <a:pt x="1642" y="123"/>
                  <a:pt x="1642" y="164"/>
                </a:cubicBezTo>
                <a:cubicBezTo>
                  <a:pt x="1642" y="205"/>
                  <a:pt x="1669" y="234"/>
                  <a:pt x="1701" y="234"/>
                </a:cubicBezTo>
                <a:close/>
                <a:moveTo>
                  <a:pt x="1479" y="231"/>
                </a:moveTo>
                <a:cubicBezTo>
                  <a:pt x="1522" y="231"/>
                  <a:pt x="1522" y="231"/>
                  <a:pt x="1522" y="231"/>
                </a:cubicBezTo>
                <a:cubicBezTo>
                  <a:pt x="1522" y="159"/>
                  <a:pt x="1522" y="159"/>
                  <a:pt x="1522" y="159"/>
                </a:cubicBezTo>
                <a:cubicBezTo>
                  <a:pt x="1522" y="142"/>
                  <a:pt x="1532" y="133"/>
                  <a:pt x="1549" y="133"/>
                </a:cubicBezTo>
                <a:cubicBezTo>
                  <a:pt x="1564" y="133"/>
                  <a:pt x="1571" y="141"/>
                  <a:pt x="1571" y="156"/>
                </a:cubicBezTo>
                <a:cubicBezTo>
                  <a:pt x="1571" y="231"/>
                  <a:pt x="1571" y="231"/>
                  <a:pt x="1571" y="231"/>
                </a:cubicBezTo>
                <a:cubicBezTo>
                  <a:pt x="1614" y="231"/>
                  <a:pt x="1614" y="231"/>
                  <a:pt x="1614" y="231"/>
                </a:cubicBezTo>
                <a:cubicBezTo>
                  <a:pt x="1614" y="154"/>
                  <a:pt x="1614" y="154"/>
                  <a:pt x="1614" y="154"/>
                </a:cubicBezTo>
                <a:cubicBezTo>
                  <a:pt x="1614" y="115"/>
                  <a:pt x="1592" y="94"/>
                  <a:pt x="1563" y="94"/>
                </a:cubicBezTo>
                <a:cubicBezTo>
                  <a:pt x="1545" y="94"/>
                  <a:pt x="1530" y="103"/>
                  <a:pt x="1522" y="118"/>
                </a:cubicBezTo>
                <a:cubicBezTo>
                  <a:pt x="1522" y="4"/>
                  <a:pt x="1522" y="4"/>
                  <a:pt x="1522" y="4"/>
                </a:cubicBezTo>
                <a:cubicBezTo>
                  <a:pt x="1479" y="4"/>
                  <a:pt x="1479" y="4"/>
                  <a:pt x="1479" y="4"/>
                </a:cubicBezTo>
                <a:lnTo>
                  <a:pt x="1479" y="231"/>
                </a:lnTo>
                <a:close/>
                <a:moveTo>
                  <a:pt x="1397" y="234"/>
                </a:moveTo>
                <a:cubicBezTo>
                  <a:pt x="1424" y="234"/>
                  <a:pt x="1440" y="224"/>
                  <a:pt x="1453" y="210"/>
                </a:cubicBezTo>
                <a:cubicBezTo>
                  <a:pt x="1425" y="184"/>
                  <a:pt x="1425" y="184"/>
                  <a:pt x="1425" y="184"/>
                </a:cubicBezTo>
                <a:cubicBezTo>
                  <a:pt x="1418" y="191"/>
                  <a:pt x="1411" y="197"/>
                  <a:pt x="1397" y="197"/>
                </a:cubicBezTo>
                <a:cubicBezTo>
                  <a:pt x="1378" y="197"/>
                  <a:pt x="1368" y="183"/>
                  <a:pt x="1368" y="164"/>
                </a:cubicBezTo>
                <a:cubicBezTo>
                  <a:pt x="1368" y="145"/>
                  <a:pt x="1378" y="131"/>
                  <a:pt x="1397" y="131"/>
                </a:cubicBezTo>
                <a:cubicBezTo>
                  <a:pt x="1408" y="131"/>
                  <a:pt x="1419" y="137"/>
                  <a:pt x="1424" y="145"/>
                </a:cubicBezTo>
                <a:cubicBezTo>
                  <a:pt x="1454" y="121"/>
                  <a:pt x="1454" y="121"/>
                  <a:pt x="1454" y="121"/>
                </a:cubicBezTo>
                <a:cubicBezTo>
                  <a:pt x="1440" y="104"/>
                  <a:pt x="1424" y="94"/>
                  <a:pt x="1397" y="94"/>
                </a:cubicBezTo>
                <a:cubicBezTo>
                  <a:pt x="1356" y="94"/>
                  <a:pt x="1324" y="123"/>
                  <a:pt x="1324" y="164"/>
                </a:cubicBezTo>
                <a:cubicBezTo>
                  <a:pt x="1324" y="205"/>
                  <a:pt x="1356" y="234"/>
                  <a:pt x="1397" y="234"/>
                </a:cubicBezTo>
                <a:close/>
                <a:moveTo>
                  <a:pt x="1154" y="231"/>
                </a:moveTo>
                <a:cubicBezTo>
                  <a:pt x="1197" y="231"/>
                  <a:pt x="1197" y="231"/>
                  <a:pt x="1197" y="231"/>
                </a:cubicBezTo>
                <a:cubicBezTo>
                  <a:pt x="1197" y="132"/>
                  <a:pt x="1197" y="132"/>
                  <a:pt x="1197" y="132"/>
                </a:cubicBezTo>
                <a:cubicBezTo>
                  <a:pt x="1233" y="132"/>
                  <a:pt x="1233" y="132"/>
                  <a:pt x="1233" y="132"/>
                </a:cubicBezTo>
                <a:cubicBezTo>
                  <a:pt x="1233" y="97"/>
                  <a:pt x="1233" y="97"/>
                  <a:pt x="1233" y="97"/>
                </a:cubicBezTo>
                <a:cubicBezTo>
                  <a:pt x="1197" y="97"/>
                  <a:pt x="1197" y="97"/>
                  <a:pt x="1197" y="97"/>
                </a:cubicBezTo>
                <a:cubicBezTo>
                  <a:pt x="1197" y="51"/>
                  <a:pt x="1197" y="51"/>
                  <a:pt x="1197" y="51"/>
                </a:cubicBezTo>
                <a:cubicBezTo>
                  <a:pt x="1197" y="41"/>
                  <a:pt x="1202" y="38"/>
                  <a:pt x="1208" y="38"/>
                </a:cubicBezTo>
                <a:cubicBezTo>
                  <a:pt x="1215" y="38"/>
                  <a:pt x="1219" y="41"/>
                  <a:pt x="1222" y="45"/>
                </a:cubicBezTo>
                <a:cubicBezTo>
                  <a:pt x="1245" y="17"/>
                  <a:pt x="1245" y="17"/>
                  <a:pt x="1245" y="17"/>
                </a:cubicBezTo>
                <a:cubicBezTo>
                  <a:pt x="1235" y="5"/>
                  <a:pt x="1223" y="0"/>
                  <a:pt x="1204" y="0"/>
                </a:cubicBezTo>
                <a:cubicBezTo>
                  <a:pt x="1171" y="0"/>
                  <a:pt x="1154" y="17"/>
                  <a:pt x="1154" y="52"/>
                </a:cubicBezTo>
                <a:cubicBezTo>
                  <a:pt x="1154" y="97"/>
                  <a:pt x="1154" y="97"/>
                  <a:pt x="1154" y="97"/>
                </a:cubicBezTo>
                <a:cubicBezTo>
                  <a:pt x="1132" y="97"/>
                  <a:pt x="1132" y="97"/>
                  <a:pt x="1132" y="97"/>
                </a:cubicBezTo>
                <a:cubicBezTo>
                  <a:pt x="1132" y="132"/>
                  <a:pt x="1132" y="132"/>
                  <a:pt x="1132" y="132"/>
                </a:cubicBezTo>
                <a:cubicBezTo>
                  <a:pt x="1154" y="132"/>
                  <a:pt x="1154" y="132"/>
                  <a:pt x="1154" y="132"/>
                </a:cubicBezTo>
                <a:lnTo>
                  <a:pt x="1154" y="231"/>
                </a:lnTo>
                <a:close/>
                <a:moveTo>
                  <a:pt x="1040" y="198"/>
                </a:moveTo>
                <a:cubicBezTo>
                  <a:pt x="1021" y="198"/>
                  <a:pt x="1009" y="184"/>
                  <a:pt x="1009" y="164"/>
                </a:cubicBezTo>
                <a:cubicBezTo>
                  <a:pt x="1009" y="144"/>
                  <a:pt x="1021" y="131"/>
                  <a:pt x="1040" y="131"/>
                </a:cubicBezTo>
                <a:cubicBezTo>
                  <a:pt x="1059" y="131"/>
                  <a:pt x="1070" y="144"/>
                  <a:pt x="1070" y="164"/>
                </a:cubicBezTo>
                <a:cubicBezTo>
                  <a:pt x="1070" y="184"/>
                  <a:pt x="1059" y="198"/>
                  <a:pt x="1040" y="198"/>
                </a:cubicBezTo>
                <a:close/>
                <a:moveTo>
                  <a:pt x="1040" y="234"/>
                </a:moveTo>
                <a:cubicBezTo>
                  <a:pt x="1081" y="234"/>
                  <a:pt x="1113" y="205"/>
                  <a:pt x="1113" y="164"/>
                </a:cubicBezTo>
                <a:cubicBezTo>
                  <a:pt x="1113" y="123"/>
                  <a:pt x="1081" y="94"/>
                  <a:pt x="1040" y="94"/>
                </a:cubicBezTo>
                <a:cubicBezTo>
                  <a:pt x="998" y="94"/>
                  <a:pt x="966" y="123"/>
                  <a:pt x="966" y="164"/>
                </a:cubicBezTo>
                <a:cubicBezTo>
                  <a:pt x="966" y="205"/>
                  <a:pt x="998" y="234"/>
                  <a:pt x="1040" y="234"/>
                </a:cubicBezTo>
                <a:close/>
                <a:moveTo>
                  <a:pt x="796" y="197"/>
                </a:moveTo>
                <a:cubicBezTo>
                  <a:pt x="778" y="197"/>
                  <a:pt x="767" y="185"/>
                  <a:pt x="767" y="164"/>
                </a:cubicBezTo>
                <a:cubicBezTo>
                  <a:pt x="767" y="144"/>
                  <a:pt x="778" y="132"/>
                  <a:pt x="796" y="132"/>
                </a:cubicBezTo>
                <a:cubicBezTo>
                  <a:pt x="814" y="132"/>
                  <a:pt x="826" y="144"/>
                  <a:pt x="826" y="164"/>
                </a:cubicBezTo>
                <a:cubicBezTo>
                  <a:pt x="826" y="185"/>
                  <a:pt x="814" y="197"/>
                  <a:pt x="796" y="197"/>
                </a:cubicBezTo>
                <a:close/>
                <a:moveTo>
                  <a:pt x="784" y="234"/>
                </a:moveTo>
                <a:cubicBezTo>
                  <a:pt x="804" y="234"/>
                  <a:pt x="818" y="226"/>
                  <a:pt x="826" y="212"/>
                </a:cubicBezTo>
                <a:cubicBezTo>
                  <a:pt x="825" y="231"/>
                  <a:pt x="825" y="231"/>
                  <a:pt x="825" y="231"/>
                </a:cubicBezTo>
                <a:cubicBezTo>
                  <a:pt x="867" y="231"/>
                  <a:pt x="867" y="231"/>
                  <a:pt x="867" y="231"/>
                </a:cubicBezTo>
                <a:cubicBezTo>
                  <a:pt x="867" y="4"/>
                  <a:pt x="867" y="4"/>
                  <a:pt x="867" y="4"/>
                </a:cubicBezTo>
                <a:cubicBezTo>
                  <a:pt x="825" y="4"/>
                  <a:pt x="825" y="4"/>
                  <a:pt x="825" y="4"/>
                </a:cubicBezTo>
                <a:cubicBezTo>
                  <a:pt x="825" y="116"/>
                  <a:pt x="825" y="116"/>
                  <a:pt x="825" y="116"/>
                </a:cubicBezTo>
                <a:cubicBezTo>
                  <a:pt x="816" y="103"/>
                  <a:pt x="804" y="94"/>
                  <a:pt x="783" y="94"/>
                </a:cubicBezTo>
                <a:cubicBezTo>
                  <a:pt x="751" y="94"/>
                  <a:pt x="723" y="122"/>
                  <a:pt x="723" y="164"/>
                </a:cubicBezTo>
                <a:cubicBezTo>
                  <a:pt x="723" y="205"/>
                  <a:pt x="751" y="234"/>
                  <a:pt x="784" y="234"/>
                </a:cubicBezTo>
                <a:close/>
                <a:moveTo>
                  <a:pt x="624" y="197"/>
                </a:moveTo>
                <a:cubicBezTo>
                  <a:pt x="606" y="197"/>
                  <a:pt x="596" y="184"/>
                  <a:pt x="596" y="164"/>
                </a:cubicBezTo>
                <a:cubicBezTo>
                  <a:pt x="596" y="144"/>
                  <a:pt x="606" y="132"/>
                  <a:pt x="624" y="132"/>
                </a:cubicBezTo>
                <a:cubicBezTo>
                  <a:pt x="642" y="132"/>
                  <a:pt x="652" y="144"/>
                  <a:pt x="652" y="164"/>
                </a:cubicBezTo>
                <a:cubicBezTo>
                  <a:pt x="652" y="184"/>
                  <a:pt x="642" y="197"/>
                  <a:pt x="624" y="197"/>
                </a:cubicBezTo>
                <a:close/>
                <a:moveTo>
                  <a:pt x="611" y="234"/>
                </a:moveTo>
                <a:cubicBezTo>
                  <a:pt x="631" y="234"/>
                  <a:pt x="645" y="224"/>
                  <a:pt x="652" y="211"/>
                </a:cubicBezTo>
                <a:cubicBezTo>
                  <a:pt x="652" y="231"/>
                  <a:pt x="652" y="231"/>
                  <a:pt x="652" y="231"/>
                </a:cubicBezTo>
                <a:cubicBezTo>
                  <a:pt x="694" y="231"/>
                  <a:pt x="694" y="231"/>
                  <a:pt x="694" y="231"/>
                </a:cubicBezTo>
                <a:cubicBezTo>
                  <a:pt x="694" y="97"/>
                  <a:pt x="694" y="97"/>
                  <a:pt x="694" y="97"/>
                </a:cubicBezTo>
                <a:cubicBezTo>
                  <a:pt x="652" y="97"/>
                  <a:pt x="652" y="97"/>
                  <a:pt x="652" y="97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45" y="103"/>
                  <a:pt x="631" y="94"/>
                  <a:pt x="611" y="94"/>
                </a:cubicBezTo>
                <a:cubicBezTo>
                  <a:pt x="578" y="94"/>
                  <a:pt x="551" y="123"/>
                  <a:pt x="551" y="164"/>
                </a:cubicBezTo>
                <a:cubicBezTo>
                  <a:pt x="551" y="205"/>
                  <a:pt x="579" y="234"/>
                  <a:pt x="611" y="234"/>
                </a:cubicBezTo>
                <a:close/>
                <a:moveTo>
                  <a:pt x="424" y="152"/>
                </a:moveTo>
                <a:cubicBezTo>
                  <a:pt x="428" y="136"/>
                  <a:pt x="439" y="129"/>
                  <a:pt x="456" y="129"/>
                </a:cubicBezTo>
                <a:cubicBezTo>
                  <a:pt x="473" y="129"/>
                  <a:pt x="482" y="138"/>
                  <a:pt x="484" y="152"/>
                </a:cubicBezTo>
                <a:lnTo>
                  <a:pt x="424" y="152"/>
                </a:lnTo>
                <a:close/>
                <a:moveTo>
                  <a:pt x="425" y="177"/>
                </a:moveTo>
                <a:cubicBezTo>
                  <a:pt x="527" y="177"/>
                  <a:pt x="527" y="177"/>
                  <a:pt x="527" y="177"/>
                </a:cubicBezTo>
                <a:cubicBezTo>
                  <a:pt x="530" y="130"/>
                  <a:pt x="504" y="94"/>
                  <a:pt x="456" y="94"/>
                </a:cubicBezTo>
                <a:cubicBezTo>
                  <a:pt x="414" y="94"/>
                  <a:pt x="382" y="123"/>
                  <a:pt x="382" y="164"/>
                </a:cubicBezTo>
                <a:cubicBezTo>
                  <a:pt x="382" y="205"/>
                  <a:pt x="413" y="234"/>
                  <a:pt x="460" y="234"/>
                </a:cubicBezTo>
                <a:cubicBezTo>
                  <a:pt x="488" y="234"/>
                  <a:pt x="505" y="225"/>
                  <a:pt x="518" y="214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87" y="193"/>
                  <a:pt x="475" y="199"/>
                  <a:pt x="460" y="199"/>
                </a:cubicBezTo>
                <a:cubicBezTo>
                  <a:pt x="441" y="199"/>
                  <a:pt x="429" y="191"/>
                  <a:pt x="425" y="177"/>
                </a:cubicBezTo>
                <a:close/>
                <a:moveTo>
                  <a:pt x="219" y="231"/>
                </a:moveTo>
                <a:cubicBezTo>
                  <a:pt x="262" y="231"/>
                  <a:pt x="262" y="231"/>
                  <a:pt x="262" y="231"/>
                </a:cubicBezTo>
                <a:cubicBezTo>
                  <a:pt x="262" y="159"/>
                  <a:pt x="262" y="159"/>
                  <a:pt x="262" y="159"/>
                </a:cubicBezTo>
                <a:cubicBezTo>
                  <a:pt x="262" y="142"/>
                  <a:pt x="272" y="133"/>
                  <a:pt x="289" y="133"/>
                </a:cubicBezTo>
                <a:cubicBezTo>
                  <a:pt x="304" y="133"/>
                  <a:pt x="311" y="141"/>
                  <a:pt x="311" y="156"/>
                </a:cubicBezTo>
                <a:cubicBezTo>
                  <a:pt x="311" y="231"/>
                  <a:pt x="311" y="231"/>
                  <a:pt x="311" y="231"/>
                </a:cubicBezTo>
                <a:cubicBezTo>
                  <a:pt x="354" y="231"/>
                  <a:pt x="354" y="231"/>
                  <a:pt x="354" y="231"/>
                </a:cubicBezTo>
                <a:cubicBezTo>
                  <a:pt x="354" y="154"/>
                  <a:pt x="354" y="154"/>
                  <a:pt x="354" y="154"/>
                </a:cubicBezTo>
                <a:cubicBezTo>
                  <a:pt x="354" y="115"/>
                  <a:pt x="333" y="94"/>
                  <a:pt x="304" y="94"/>
                </a:cubicBezTo>
                <a:cubicBezTo>
                  <a:pt x="285" y="94"/>
                  <a:pt x="270" y="103"/>
                  <a:pt x="262" y="118"/>
                </a:cubicBezTo>
                <a:cubicBezTo>
                  <a:pt x="262" y="4"/>
                  <a:pt x="262" y="4"/>
                  <a:pt x="262" y="4"/>
                </a:cubicBezTo>
                <a:cubicBezTo>
                  <a:pt x="219" y="4"/>
                  <a:pt x="219" y="4"/>
                  <a:pt x="219" y="4"/>
                </a:cubicBezTo>
                <a:lnTo>
                  <a:pt x="219" y="231"/>
                </a:lnTo>
                <a:close/>
                <a:moveTo>
                  <a:pt x="68" y="170"/>
                </a:moveTo>
                <a:cubicBezTo>
                  <a:pt x="83" y="133"/>
                  <a:pt x="83" y="133"/>
                  <a:pt x="83" y="133"/>
                </a:cubicBezTo>
                <a:cubicBezTo>
                  <a:pt x="89" y="118"/>
                  <a:pt x="96" y="94"/>
                  <a:pt x="96" y="94"/>
                </a:cubicBezTo>
                <a:cubicBezTo>
                  <a:pt x="96" y="94"/>
                  <a:pt x="102" y="118"/>
                  <a:pt x="109" y="133"/>
                </a:cubicBezTo>
                <a:cubicBezTo>
                  <a:pt x="124" y="170"/>
                  <a:pt x="124" y="170"/>
                  <a:pt x="124" y="170"/>
                </a:cubicBezTo>
                <a:lnTo>
                  <a:pt x="68" y="170"/>
                </a:lnTo>
                <a:close/>
                <a:moveTo>
                  <a:pt x="0" y="231"/>
                </a:moveTo>
                <a:cubicBezTo>
                  <a:pt x="43" y="231"/>
                  <a:pt x="43" y="231"/>
                  <a:pt x="43" y="231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140" y="207"/>
                  <a:pt x="140" y="207"/>
                  <a:pt x="140" y="207"/>
                </a:cubicBezTo>
                <a:cubicBezTo>
                  <a:pt x="150" y="231"/>
                  <a:pt x="150" y="231"/>
                  <a:pt x="150" y="231"/>
                </a:cubicBezTo>
                <a:cubicBezTo>
                  <a:pt x="196" y="231"/>
                  <a:pt x="196" y="231"/>
                  <a:pt x="196" y="231"/>
                </a:cubicBezTo>
                <a:cubicBezTo>
                  <a:pt x="98" y="15"/>
                  <a:pt x="98" y="15"/>
                  <a:pt x="98" y="15"/>
                </a:cubicBezTo>
                <a:cubicBezTo>
                  <a:pt x="94" y="15"/>
                  <a:pt x="94" y="15"/>
                  <a:pt x="94" y="15"/>
                </a:cubicBezTo>
                <a:lnTo>
                  <a:pt x="0" y="231"/>
                </a:lnTo>
                <a:close/>
              </a:path>
            </a:pathLst>
          </a:custGeom>
          <a:solidFill>
            <a:srgbClr val="58595B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nl-NL"/>
          </a:p>
        </p:txBody>
      </p:sp>
      <p:sp>
        <p:nvSpPr>
          <p:cNvPr id="4" name="Tijdelijke aanduiding voor datum 3"/>
          <p:cNvSpPr>
            <a:spLocks noGrp="1" noSelect="1"/>
          </p:cNvSpPr>
          <p:nvPr>
            <p:ph type="dt" sz="half" idx="2"/>
          </p:nvPr>
        </p:nvSpPr>
        <p:spPr bwMode="gray">
          <a:xfrm>
            <a:off x="9897422" y="6411940"/>
            <a:ext cx="1260222" cy="1721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nl-NL" noProof="1">
                <a:solidFill>
                  <a:srgbClr val="F58220"/>
                </a:solidFill>
              </a:rPr>
              <a:t>|</a:t>
            </a:r>
            <a:r>
              <a:rPr lang="nl-NL" noProof="1"/>
              <a:t> </a:t>
            </a:r>
            <a:fld id="{74C395E7-400F-47A0-A220-1171A3F42FB3}" type="datetime4">
              <a:rPr lang="nl-NL" noProof="1" smtClean="0"/>
              <a:t>28 juni 2023</a:t>
            </a:fld>
            <a:endParaRPr lang="nl-NL" noProof="1"/>
          </a:p>
        </p:txBody>
      </p:sp>
      <p:sp>
        <p:nvSpPr>
          <p:cNvPr id="5" name="Tijdelijke aanduiding voor voettekst 4"/>
          <p:cNvSpPr>
            <a:spLocks noGrp="1" noSelect="1"/>
          </p:cNvSpPr>
          <p:nvPr>
            <p:ph type="ftr" sz="quarter" idx="3"/>
          </p:nvPr>
        </p:nvSpPr>
        <p:spPr bwMode="gray">
          <a:xfrm>
            <a:off x="3576535" y="6411940"/>
            <a:ext cx="6263881" cy="1721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nl-NL" noProof="1"/>
              <a:t>[Voettekst]</a:t>
            </a:r>
            <a:endParaRPr lang="nl-NL" sz="1100" noProof="1"/>
          </a:p>
        </p:txBody>
      </p:sp>
      <p:sp>
        <p:nvSpPr>
          <p:cNvPr id="6" name="Tijdelijke aanduiding voor dianummer 5"/>
          <p:cNvSpPr>
            <a:spLocks noGrp="1" noSelect="1"/>
          </p:cNvSpPr>
          <p:nvPr>
            <p:ph type="sldNum" sz="quarter" idx="4"/>
          </p:nvPr>
        </p:nvSpPr>
        <p:spPr bwMode="gray">
          <a:xfrm>
            <a:off x="11157644" y="6335897"/>
            <a:ext cx="517982" cy="25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1500">
                <a:solidFill>
                  <a:srgbClr val="F58220"/>
                </a:solidFill>
                <a:latin typeface="+mn-lt"/>
              </a:defRPr>
            </a:lvl1pPr>
          </a:lstStyle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3" name="Tijdelijke aanduiding voor tekst 2 (JU-Free)"/>
          <p:cNvSpPr>
            <a:spLocks noGrp="1"/>
          </p:cNvSpPr>
          <p:nvPr>
            <p:ph type="body" idx="1"/>
          </p:nvPr>
        </p:nvSpPr>
        <p:spPr bwMode="gray">
          <a:xfrm>
            <a:off x="648000" y="2250295"/>
            <a:ext cx="11027626" cy="37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3"/>
            <a:r>
              <a:rPr lang="nl-NL" sz="1800">
                <a:solidFill>
                  <a:schemeClr val="accent1"/>
                </a:solidFill>
              </a:rPr>
              <a:t>Kop</a:t>
            </a:r>
          </a:p>
          <a:p>
            <a:pPr lvl="4"/>
            <a:r>
              <a:rPr lang="nl-NL" sz="1400"/>
              <a:t>Basistekst</a:t>
            </a:r>
          </a:p>
          <a:p>
            <a:pPr lvl="4"/>
            <a:r>
              <a:rPr lang="nl-NL" sz="1400" b="1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oord(en) accentueren</a:t>
            </a:r>
            <a:endParaRPr lang="nl-NL" sz="1200"/>
          </a:p>
          <a:p>
            <a:pPr lvl="5"/>
            <a:r>
              <a:rPr lang="nl-NL" sz="1200"/>
              <a:t>Basistekst klei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nl-NL" sz="1400"/>
              <a:t>Opsomming 1e nivea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l-NL" sz="1400"/>
              <a:t>Opsomming 2e niveau</a:t>
            </a:r>
          </a:p>
          <a:p>
            <a:pPr lvl="2"/>
            <a:r>
              <a:rPr lang="nl-NL" sz="1200"/>
              <a:t>Opsomming 1e niveau klein</a:t>
            </a:r>
          </a:p>
          <a:p>
            <a:pPr lvl="6"/>
            <a:r>
              <a:rPr lang="nl-NL" sz="1400"/>
              <a:t>Zwevend 1e niveau</a:t>
            </a:r>
          </a:p>
          <a:p>
            <a:pPr lvl="7"/>
            <a:r>
              <a:rPr lang="nl-NL" sz="1400"/>
              <a:t>Zwevend 2e niveau</a:t>
            </a:r>
          </a:p>
          <a:p>
            <a:pPr lvl="8"/>
            <a:r>
              <a:rPr lang="nl-NL" sz="1200"/>
              <a:t>Zwevend 1e niveau klein</a:t>
            </a:r>
          </a:p>
          <a:p>
            <a:pPr lvl="8"/>
            <a:endParaRPr lang="nl-NL"/>
          </a:p>
          <a:p>
            <a:pPr lvl="7"/>
            <a:r>
              <a:rPr lang="nl-NL" sz="1400"/>
              <a:t>Gebruik de knoppen voor Lijstniveau verlagen en verhogen om van tekststijl te wisselen. Deze knoppen staan op tabblad Start, groep Alinea. Gebruik dus niet de knoppen voor opsommingstekens en nummering.</a:t>
            </a:r>
          </a:p>
        </p:txBody>
      </p:sp>
      <p:sp>
        <p:nvSpPr>
          <p:cNvPr id="2" name="Tijdelijke aanduiding voor titel 1"/>
          <p:cNvSpPr>
            <a:spLocks noGrp="1" noSelect="1"/>
          </p:cNvSpPr>
          <p:nvPr>
            <p:ph type="title"/>
          </p:nvPr>
        </p:nvSpPr>
        <p:spPr bwMode="gray">
          <a:xfrm>
            <a:off x="648000" y="592225"/>
            <a:ext cx="11027626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1"/>
              <a:t>[Titel Bold]</a:t>
            </a:r>
          </a:p>
        </p:txBody>
      </p:sp>
    </p:spTree>
    <p:extLst>
      <p:ext uri="{BB962C8B-B14F-4D97-AF65-F5344CB8AC3E}">
        <p14:creationId xmlns:p14="http://schemas.microsoft.com/office/powerpoint/2010/main" val="2730344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1" r:id="rId38"/>
    <p:sldLayoutId id="2147483772" r:id="rId39"/>
    <p:sldLayoutId id="2147483773" r:id="rId40"/>
    <p:sldLayoutId id="2147483775" r:id="rId41"/>
    <p:sldLayoutId id="2147483777" r:id="rId42"/>
    <p:sldLayoutId id="2147483778" r:id="rId43"/>
    <p:sldLayoutId id="2147483779" r:id="rId44"/>
    <p:sldLayoutId id="2147483780" r:id="rId45"/>
    <p:sldLayoutId id="2147483781" r:id="rId46"/>
    <p:sldLayoutId id="2147483782" r:id="rId47"/>
    <p:sldLayoutId id="2147483784" r:id="rId48"/>
    <p:sldLayoutId id="2147483785" r:id="rId49"/>
    <p:sldLayoutId id="2147483787" r:id="rId50"/>
    <p:sldLayoutId id="2147483790" r:id="rId51"/>
  </p:sldLayoutIdLst>
  <p:hf hdr="0" ftr="0" dt="0"/>
  <p:txStyles>
    <p:titleStyle>
      <a:lvl1pPr algn="l" defTabSz="1088610" rtl="0" eaLnBrk="1" latinLnBrk="0" hangingPunct="1">
        <a:lnSpc>
          <a:spcPct val="94000"/>
        </a:lnSpc>
        <a:spcBef>
          <a:spcPct val="0"/>
        </a:spcBef>
        <a:buNone/>
        <a:defRPr sz="3600" b="1" i="0" kern="1200" cap="all" spc="80" baseline="0">
          <a:solidFill>
            <a:srgbClr val="000000"/>
          </a:solidFill>
          <a:latin typeface="Roboto Condensed" panose="02000000000000000000" pitchFamily="2" charset="0"/>
          <a:ea typeface="Roboto Condensed" panose="02000000000000000000" pitchFamily="2" charset="0"/>
          <a:cs typeface="+mj-cs"/>
        </a:defRPr>
      </a:lvl1pPr>
    </p:titleStyle>
    <p:bodyStyle>
      <a:lvl1pPr marL="342000" indent="-342000" algn="l" defTabSz="1088610" rtl="0" eaLnBrk="1" latinLnBrk="0" hangingPunct="1">
        <a:lnSpc>
          <a:spcPct val="125000"/>
        </a:lnSpc>
        <a:spcBef>
          <a:spcPts val="0"/>
        </a:spcBef>
        <a:buClr>
          <a:schemeClr val="accent1"/>
        </a:buClr>
        <a:buFont typeface="Calibri" panose="020F0502020204030204" pitchFamily="34" charset="0"/>
        <a:buChar char="●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4000" indent="-342000" algn="l" defTabSz="1088610" rtl="0" eaLnBrk="1" latinLnBrk="0" hangingPunct="1">
        <a:lnSpc>
          <a:spcPct val="125000"/>
        </a:lnSpc>
        <a:spcBef>
          <a:spcPts val="0"/>
        </a:spcBef>
        <a:buClr>
          <a:schemeClr val="accent1"/>
        </a:buClr>
        <a:buFont typeface="Calibri" panose="020F050202020403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000" indent="-342000" algn="l" defTabSz="1088610" rtl="0" eaLnBrk="1" latinLnBrk="0" hangingPunct="1">
        <a:lnSpc>
          <a:spcPct val="137000"/>
        </a:lnSpc>
        <a:spcBef>
          <a:spcPts val="0"/>
        </a:spcBef>
        <a:buClr>
          <a:schemeClr val="accent1"/>
        </a:buClr>
        <a:buFont typeface="Calibri" panose="020F0502020204030204" pitchFamily="34" charset="0"/>
        <a:buChar char="●"/>
        <a:defRPr sz="13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610" rtl="0" eaLnBrk="1" latinLnBrk="0" hangingPunct="1">
        <a:lnSpc>
          <a:spcPct val="125000"/>
        </a:lnSpc>
        <a:spcBef>
          <a:spcPts val="0"/>
        </a:spcBef>
        <a:buFont typeface="Arial" pitchFamily="34" charset="0"/>
        <a:buNone/>
        <a:defRPr sz="1900" b="1" kern="1200" baseline="0">
          <a:solidFill>
            <a:schemeClr val="accent5"/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0" indent="0" algn="l" defTabSz="1088610" rtl="0" eaLnBrk="1" latinLnBrk="0" hangingPunct="1">
        <a:lnSpc>
          <a:spcPct val="125000"/>
        </a:lnSpc>
        <a:spcBef>
          <a:spcPts val="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088610" rtl="0" eaLnBrk="1" latinLnBrk="0" hangingPunct="1">
        <a:lnSpc>
          <a:spcPct val="137000"/>
        </a:lnSpc>
        <a:spcBef>
          <a:spcPts val="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342000" indent="0" algn="l" defTabSz="1088610" rtl="0" eaLnBrk="1" latinLnBrk="0" hangingPunct="1">
        <a:lnSpc>
          <a:spcPct val="125000"/>
        </a:lnSpc>
        <a:spcBef>
          <a:spcPts val="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684000" indent="0" algn="l" defTabSz="1088610" rtl="0" eaLnBrk="1" latinLnBrk="0" hangingPunct="1">
        <a:lnSpc>
          <a:spcPct val="125000"/>
        </a:lnSpc>
        <a:spcBef>
          <a:spcPts val="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2000" indent="0" algn="l" defTabSz="1088610" rtl="0" eaLnBrk="1" latinLnBrk="0" hangingPunct="1">
        <a:lnSpc>
          <a:spcPct val="137000"/>
        </a:lnSpc>
        <a:spcBef>
          <a:spcPts val="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06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610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916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222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526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831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137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442" algn="l" defTabSz="108861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e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Relationship Id="rId9" Type="http://schemas.openxmlformats.org/officeDocument/2006/relationships/image" Target="../media/image3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Relationship Id="rId4" Type="http://schemas.openxmlformats.org/officeDocument/2006/relationships/hyperlink" Target="https://www.pickpik.com/secret-top-stamp-spy-army-military-3933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5.xml"/><Relationship Id="rId6" Type="http://schemas.microsoft.com/office/2007/relationships/hdphoto" Target="../media/hdphoto2.wdp"/><Relationship Id="rId5" Type="http://schemas.openxmlformats.org/officeDocument/2006/relationships/image" Target="../media/image61.pn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9.jpeg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0.xml"/><Relationship Id="rId5" Type="http://schemas.openxmlformats.org/officeDocument/2006/relationships/hyperlink" Target="https://creativecommons.org/licenses/by-sa/3.0/" TargetMode="External"/><Relationship Id="rId4" Type="http://schemas.openxmlformats.org/officeDocument/2006/relationships/hyperlink" Target="https://commons.wikimedia.org/wiki/File:Brussels_-_Vlaams_Parlement.jpg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pxhere.com/en/photo/920611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image" Target="../media/image71.png"/><Relationship Id="rId3" Type="http://schemas.openxmlformats.org/officeDocument/2006/relationships/image" Target="../media/image67.jpeg"/><Relationship Id="rId7" Type="http://schemas.openxmlformats.org/officeDocument/2006/relationships/diagramQuickStyle" Target="../diagrams/quickStyle2.xml"/><Relationship Id="rId12" Type="http://schemas.openxmlformats.org/officeDocument/2006/relationships/image" Target="../media/image70.pn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74.png"/><Relationship Id="rId1" Type="http://schemas.openxmlformats.org/officeDocument/2006/relationships/slideLayout" Target="../slideLayouts/slideLayout40.x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69.png"/><Relationship Id="rId5" Type="http://schemas.openxmlformats.org/officeDocument/2006/relationships/diagramData" Target="../diagrams/data2.xml"/><Relationship Id="rId15" Type="http://schemas.openxmlformats.org/officeDocument/2006/relationships/image" Target="../media/image73.png"/><Relationship Id="rId10" Type="http://schemas.openxmlformats.org/officeDocument/2006/relationships/image" Target="../media/image68.png"/><Relationship Id="rId4" Type="http://schemas.openxmlformats.org/officeDocument/2006/relationships/hyperlink" Target="https://www.publicdomainpictures.net/en/view-image.php?image=309161&amp;picture=gift-boxes-background" TargetMode="External"/><Relationship Id="rId9" Type="http://schemas.microsoft.com/office/2007/relationships/diagramDrawing" Target="../diagrams/drawing2.xml"/><Relationship Id="rId14" Type="http://schemas.openxmlformats.org/officeDocument/2006/relationships/image" Target="../media/image7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juku.it/two-tier-data-storage-strategy-a-gigaom-market-landscape-report/iceberg-with-underwater-view-3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juku.it/two-tier-data-storage-strategy-a-gigaom-market-landscape-report/iceberg-with-underwater-view-3/" TargetMode="External"/><Relationship Id="rId5" Type="http://schemas.openxmlformats.org/officeDocument/2006/relationships/image" Target="../media/image45.jpeg"/><Relationship Id="rId4" Type="http://schemas.openxmlformats.org/officeDocument/2006/relationships/image" Target="../media/image4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microsoft.com/office/2007/relationships/hdphoto" Target="../media/hdphoto1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4" Type="http://schemas.openxmlformats.org/officeDocument/2006/relationships/hyperlink" Target="https://www.compasscyber.com/blog/resource/guide-best-practices-protect-organizations-sensitive-data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font, logo, graphics&#10;&#10;Description automatically generated">
            <a:extLst>
              <a:ext uri="{FF2B5EF4-FFF2-40B4-BE49-F238E27FC236}">
                <a16:creationId xmlns:a16="http://schemas.microsoft.com/office/drawing/2014/main" id="{043D2D67-990B-47F2-2CF7-806BE48353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2034" y="5958785"/>
            <a:ext cx="2355638" cy="1190762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69A2F76E-DCB7-3348-A7F4-D28BD46426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414864" y="-3157941"/>
            <a:ext cx="10570080" cy="10570080"/>
          </a:xfrm>
          <a:prstGeom prst="rect">
            <a:avLst/>
          </a:prstGeom>
        </p:spPr>
      </p:pic>
      <p:grpSp>
        <p:nvGrpSpPr>
          <p:cNvPr id="23" name="Graphic 13">
            <a:extLst>
              <a:ext uri="{FF2B5EF4-FFF2-40B4-BE49-F238E27FC236}">
                <a16:creationId xmlns:a16="http://schemas.microsoft.com/office/drawing/2014/main" id="{D11905EF-1C13-0041-9BA5-049AA952779A}"/>
              </a:ext>
            </a:extLst>
          </p:cNvPr>
          <p:cNvGrpSpPr/>
          <p:nvPr/>
        </p:nvGrpSpPr>
        <p:grpSpPr>
          <a:xfrm>
            <a:off x="0" y="551850"/>
            <a:ext cx="2443445" cy="543341"/>
            <a:chOff x="-24380" y="537562"/>
            <a:chExt cx="2443445" cy="543341"/>
          </a:xfrm>
        </p:grpSpPr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3B87D1A6-D2F0-324F-8623-151A5DEC7342}"/>
                </a:ext>
              </a:extLst>
            </p:cNvPr>
            <p:cNvSpPr/>
            <p:nvPr/>
          </p:nvSpPr>
          <p:spPr>
            <a:xfrm>
              <a:off x="290823" y="614243"/>
              <a:ext cx="385804" cy="390213"/>
            </a:xfrm>
            <a:custGeom>
              <a:avLst/>
              <a:gdLst>
                <a:gd name="connsiteX0" fmla="*/ 373652 w 385804"/>
                <a:gd name="connsiteY0" fmla="*/ 127191 h 390213"/>
                <a:gd name="connsiteX1" fmla="*/ 127524 w 385804"/>
                <a:gd name="connsiteY1" fmla="*/ 11294 h 390213"/>
                <a:gd name="connsiteX2" fmla="*/ 17459 w 385804"/>
                <a:gd name="connsiteY2" fmla="*/ 113804 h 390213"/>
                <a:gd name="connsiteX3" fmla="*/ 0 w 385804"/>
                <a:gd name="connsiteY3" fmla="*/ 194320 h 390213"/>
                <a:gd name="connsiteX4" fmla="*/ 12335 w 385804"/>
                <a:gd name="connsiteY4" fmla="*/ 262405 h 390213"/>
                <a:gd name="connsiteX5" fmla="*/ 110634 w 385804"/>
                <a:gd name="connsiteY5" fmla="*/ 371609 h 390213"/>
                <a:gd name="connsiteX6" fmla="*/ 258463 w 385804"/>
                <a:gd name="connsiteY6" fmla="*/ 378303 h 390213"/>
                <a:gd name="connsiteX7" fmla="*/ 367769 w 385804"/>
                <a:gd name="connsiteY7" fmla="*/ 277705 h 390213"/>
                <a:gd name="connsiteX8" fmla="*/ 373652 w 385804"/>
                <a:gd name="connsiteY8" fmla="*/ 127191 h 390213"/>
                <a:gd name="connsiteX9" fmla="*/ 315963 w 385804"/>
                <a:gd name="connsiteY9" fmla="*/ 253416 h 390213"/>
                <a:gd name="connsiteX10" fmla="*/ 239107 w 385804"/>
                <a:gd name="connsiteY10" fmla="*/ 324179 h 390213"/>
                <a:gd name="connsiteX11" fmla="*/ 135114 w 385804"/>
                <a:gd name="connsiteY11" fmla="*/ 319398 h 390213"/>
                <a:gd name="connsiteX12" fmla="*/ 66229 w 385804"/>
                <a:gd name="connsiteY12" fmla="*/ 242898 h 390213"/>
                <a:gd name="connsiteX13" fmla="*/ 66039 w 385804"/>
                <a:gd name="connsiteY13" fmla="*/ 242515 h 390213"/>
                <a:gd name="connsiteX14" fmla="*/ 69645 w 385804"/>
                <a:gd name="connsiteY14" fmla="*/ 138092 h 390213"/>
                <a:gd name="connsiteX15" fmla="*/ 147260 w 385804"/>
                <a:gd name="connsiteY15" fmla="*/ 65800 h 390213"/>
                <a:gd name="connsiteX16" fmla="*/ 319948 w 385804"/>
                <a:gd name="connsiteY16" fmla="*/ 147272 h 390213"/>
                <a:gd name="connsiteX17" fmla="*/ 315963 w 385804"/>
                <a:gd name="connsiteY17" fmla="*/ 253416 h 39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5804" h="390213">
                  <a:moveTo>
                    <a:pt x="373652" y="127191"/>
                  </a:moveTo>
                  <a:cubicBezTo>
                    <a:pt x="337976" y="27550"/>
                    <a:pt x="227531" y="-24470"/>
                    <a:pt x="127524" y="11294"/>
                  </a:cubicBezTo>
                  <a:cubicBezTo>
                    <a:pt x="77994" y="29845"/>
                    <a:pt x="38902" y="66182"/>
                    <a:pt x="17459" y="113804"/>
                  </a:cubicBezTo>
                  <a:cubicBezTo>
                    <a:pt x="5883" y="139431"/>
                    <a:pt x="0" y="166780"/>
                    <a:pt x="0" y="194320"/>
                  </a:cubicBezTo>
                  <a:cubicBezTo>
                    <a:pt x="0" y="217079"/>
                    <a:pt x="4175" y="240220"/>
                    <a:pt x="12335" y="262405"/>
                  </a:cubicBezTo>
                  <a:cubicBezTo>
                    <a:pt x="29414" y="310791"/>
                    <a:pt x="64331" y="349615"/>
                    <a:pt x="110634" y="371609"/>
                  </a:cubicBezTo>
                  <a:cubicBezTo>
                    <a:pt x="157507" y="393794"/>
                    <a:pt x="210073" y="396280"/>
                    <a:pt x="258463" y="378303"/>
                  </a:cubicBezTo>
                  <a:cubicBezTo>
                    <a:pt x="307233" y="360517"/>
                    <a:pt x="345946" y="324753"/>
                    <a:pt x="367769" y="277705"/>
                  </a:cubicBezTo>
                  <a:cubicBezTo>
                    <a:pt x="389593" y="230275"/>
                    <a:pt x="391680" y="176916"/>
                    <a:pt x="373652" y="127191"/>
                  </a:cubicBezTo>
                  <a:close/>
                  <a:moveTo>
                    <a:pt x="315963" y="253416"/>
                  </a:moveTo>
                  <a:cubicBezTo>
                    <a:pt x="300592" y="286503"/>
                    <a:pt x="273265" y="311556"/>
                    <a:pt x="239107" y="324179"/>
                  </a:cubicBezTo>
                  <a:cubicBezTo>
                    <a:pt x="204949" y="336610"/>
                    <a:pt x="168134" y="335080"/>
                    <a:pt x="135114" y="319398"/>
                  </a:cubicBezTo>
                  <a:cubicBezTo>
                    <a:pt x="102664" y="303906"/>
                    <a:pt x="77994" y="276749"/>
                    <a:pt x="66229" y="242898"/>
                  </a:cubicBezTo>
                  <a:lnTo>
                    <a:pt x="66039" y="242515"/>
                  </a:lnTo>
                  <a:cubicBezTo>
                    <a:pt x="53325" y="208281"/>
                    <a:pt x="54653" y="170987"/>
                    <a:pt x="69645" y="138092"/>
                  </a:cubicBezTo>
                  <a:cubicBezTo>
                    <a:pt x="84826" y="104432"/>
                    <a:pt x="112342" y="78805"/>
                    <a:pt x="147260" y="65800"/>
                  </a:cubicBezTo>
                  <a:cubicBezTo>
                    <a:pt x="217284" y="40746"/>
                    <a:pt x="294899" y="77275"/>
                    <a:pt x="319948" y="147272"/>
                  </a:cubicBezTo>
                  <a:cubicBezTo>
                    <a:pt x="332662" y="182271"/>
                    <a:pt x="331334" y="219948"/>
                    <a:pt x="315963" y="253416"/>
                  </a:cubicBez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0FD93AFA-6003-7C40-89F1-56A5A982D7FB}"/>
                </a:ext>
              </a:extLst>
            </p:cNvPr>
            <p:cNvSpPr/>
            <p:nvPr/>
          </p:nvSpPr>
          <p:spPr>
            <a:xfrm>
              <a:off x="302968" y="876457"/>
              <a:ext cx="189" cy="382"/>
            </a:xfrm>
            <a:custGeom>
              <a:avLst/>
              <a:gdLst>
                <a:gd name="connsiteX0" fmla="*/ 190 w 189"/>
                <a:gd name="connsiteY0" fmla="*/ 383 h 382"/>
                <a:gd name="connsiteX1" fmla="*/ 190 w 189"/>
                <a:gd name="connsiteY1" fmla="*/ 191 h 382"/>
                <a:gd name="connsiteX2" fmla="*/ 0 w 189"/>
                <a:gd name="connsiteY2" fmla="*/ 0 h 382"/>
                <a:gd name="connsiteX3" fmla="*/ 190 w 189"/>
                <a:gd name="connsiteY3" fmla="*/ 383 h 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" h="382">
                  <a:moveTo>
                    <a:pt x="190" y="383"/>
                  </a:moveTo>
                  <a:cubicBezTo>
                    <a:pt x="190" y="383"/>
                    <a:pt x="190" y="191"/>
                    <a:pt x="190" y="191"/>
                  </a:cubicBezTo>
                  <a:cubicBezTo>
                    <a:pt x="190" y="191"/>
                    <a:pt x="190" y="191"/>
                    <a:pt x="0" y="0"/>
                  </a:cubicBezTo>
                  <a:lnTo>
                    <a:pt x="190" y="383"/>
                  </a:ln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A4EC4334-B4C0-B649-BF08-340165D9B556}"/>
                </a:ext>
              </a:extLst>
            </p:cNvPr>
            <p:cNvSpPr/>
            <p:nvPr/>
          </p:nvSpPr>
          <p:spPr>
            <a:xfrm>
              <a:off x="1598511" y="663595"/>
              <a:ext cx="228480" cy="290891"/>
            </a:xfrm>
            <a:custGeom>
              <a:avLst/>
              <a:gdLst>
                <a:gd name="connsiteX0" fmla="*/ 174207 w 228480"/>
                <a:gd name="connsiteY0" fmla="*/ 290892 h 290891"/>
                <a:gd name="connsiteX1" fmla="*/ 225823 w 228480"/>
                <a:gd name="connsiteY1" fmla="*/ 274444 h 290891"/>
                <a:gd name="connsiteX2" fmla="*/ 228480 w 228480"/>
                <a:gd name="connsiteY2" fmla="*/ 8415 h 290891"/>
                <a:gd name="connsiteX3" fmla="*/ 176863 w 228480"/>
                <a:gd name="connsiteY3" fmla="*/ 8415 h 290891"/>
                <a:gd name="connsiteX4" fmla="*/ 179520 w 228480"/>
                <a:gd name="connsiteY4" fmla="*/ 214009 h 290891"/>
                <a:gd name="connsiteX5" fmla="*/ 48960 w 228480"/>
                <a:gd name="connsiteY5" fmla="*/ 0 h 290891"/>
                <a:gd name="connsiteX6" fmla="*/ 2657 w 228480"/>
                <a:gd name="connsiteY6" fmla="*/ 16639 h 290891"/>
                <a:gd name="connsiteX7" fmla="*/ 0 w 228480"/>
                <a:gd name="connsiteY7" fmla="*/ 285345 h 290891"/>
                <a:gd name="connsiteX8" fmla="*/ 51617 w 228480"/>
                <a:gd name="connsiteY8" fmla="*/ 285345 h 290891"/>
                <a:gd name="connsiteX9" fmla="*/ 46303 w 228480"/>
                <a:gd name="connsiteY9" fmla="*/ 79560 h 290891"/>
                <a:gd name="connsiteX10" fmla="*/ 48960 w 228480"/>
                <a:gd name="connsiteY10" fmla="*/ 79560 h 29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8480" h="290891">
                  <a:moveTo>
                    <a:pt x="174207" y="290892"/>
                  </a:moveTo>
                  <a:lnTo>
                    <a:pt x="225823" y="274444"/>
                  </a:lnTo>
                  <a:lnTo>
                    <a:pt x="228480" y="8415"/>
                  </a:lnTo>
                  <a:lnTo>
                    <a:pt x="176863" y="8415"/>
                  </a:lnTo>
                  <a:lnTo>
                    <a:pt x="179520" y="214009"/>
                  </a:lnTo>
                  <a:lnTo>
                    <a:pt x="48960" y="0"/>
                  </a:lnTo>
                  <a:lnTo>
                    <a:pt x="2657" y="16639"/>
                  </a:lnTo>
                  <a:lnTo>
                    <a:pt x="0" y="285345"/>
                  </a:lnTo>
                  <a:lnTo>
                    <a:pt x="51617" y="285345"/>
                  </a:lnTo>
                  <a:lnTo>
                    <a:pt x="46303" y="79560"/>
                  </a:lnTo>
                  <a:lnTo>
                    <a:pt x="48960" y="79560"/>
                  </a:ln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C00052F-6874-2548-9755-FA6D167BF345}"/>
                </a:ext>
              </a:extLst>
            </p:cNvPr>
            <p:cNvSpPr/>
            <p:nvPr/>
          </p:nvSpPr>
          <p:spPr>
            <a:xfrm>
              <a:off x="790101" y="672004"/>
              <a:ext cx="215196" cy="282483"/>
            </a:xfrm>
            <a:custGeom>
              <a:avLst/>
              <a:gdLst>
                <a:gd name="connsiteX0" fmla="*/ 185023 w 215196"/>
                <a:gd name="connsiteY0" fmla="*/ 79567 h 282483"/>
                <a:gd name="connsiteX1" fmla="*/ 89760 w 215196"/>
                <a:gd name="connsiteY1" fmla="*/ 7 h 282483"/>
                <a:gd name="connsiteX2" fmla="*/ 2657 w 215196"/>
                <a:gd name="connsiteY2" fmla="*/ 7 h 282483"/>
                <a:gd name="connsiteX3" fmla="*/ 0 w 215196"/>
                <a:gd name="connsiteY3" fmla="*/ 277128 h 282483"/>
                <a:gd name="connsiteX4" fmla="*/ 51807 w 215196"/>
                <a:gd name="connsiteY4" fmla="*/ 277128 h 282483"/>
                <a:gd name="connsiteX5" fmla="*/ 51807 w 215196"/>
                <a:gd name="connsiteY5" fmla="*/ 164673 h 282483"/>
                <a:gd name="connsiteX6" fmla="*/ 68127 w 215196"/>
                <a:gd name="connsiteY6" fmla="*/ 164673 h 282483"/>
                <a:gd name="connsiteX7" fmla="*/ 87293 w 215196"/>
                <a:gd name="connsiteY7" fmla="*/ 175574 h 282483"/>
                <a:gd name="connsiteX8" fmla="*/ 163390 w 215196"/>
                <a:gd name="connsiteY8" fmla="*/ 282483 h 282483"/>
                <a:gd name="connsiteX9" fmla="*/ 215196 w 215196"/>
                <a:gd name="connsiteY9" fmla="*/ 263358 h 282483"/>
                <a:gd name="connsiteX10" fmla="*/ 130750 w 215196"/>
                <a:gd name="connsiteY10" fmla="*/ 150903 h 282483"/>
                <a:gd name="connsiteX11" fmla="*/ 185023 w 215196"/>
                <a:gd name="connsiteY11" fmla="*/ 79567 h 282483"/>
                <a:gd name="connsiteX12" fmla="*/ 84257 w 215196"/>
                <a:gd name="connsiteY12" fmla="*/ 123363 h 282483"/>
                <a:gd name="connsiteX13" fmla="*/ 54274 w 215196"/>
                <a:gd name="connsiteY13" fmla="*/ 123363 h 282483"/>
                <a:gd name="connsiteX14" fmla="*/ 54274 w 215196"/>
                <a:gd name="connsiteY14" fmla="*/ 41126 h 282483"/>
                <a:gd name="connsiteX15" fmla="*/ 84257 w 215196"/>
                <a:gd name="connsiteY15" fmla="*/ 41126 h 282483"/>
                <a:gd name="connsiteX16" fmla="*/ 130560 w 215196"/>
                <a:gd name="connsiteY16" fmla="*/ 79567 h 282483"/>
                <a:gd name="connsiteX17" fmla="*/ 84257 w 215196"/>
                <a:gd name="connsiteY17" fmla="*/ 123363 h 28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5196" h="282483">
                  <a:moveTo>
                    <a:pt x="185023" y="79567"/>
                  </a:moveTo>
                  <a:cubicBezTo>
                    <a:pt x="183695" y="35388"/>
                    <a:pt x="156748" y="-567"/>
                    <a:pt x="89760" y="7"/>
                  </a:cubicBezTo>
                  <a:lnTo>
                    <a:pt x="2657" y="7"/>
                  </a:lnTo>
                  <a:lnTo>
                    <a:pt x="0" y="277128"/>
                  </a:lnTo>
                  <a:lnTo>
                    <a:pt x="51807" y="277128"/>
                  </a:lnTo>
                  <a:lnTo>
                    <a:pt x="51807" y="164673"/>
                  </a:lnTo>
                  <a:lnTo>
                    <a:pt x="68127" y="164673"/>
                  </a:lnTo>
                  <a:cubicBezTo>
                    <a:pt x="76666" y="165821"/>
                    <a:pt x="82549" y="168498"/>
                    <a:pt x="87293" y="175574"/>
                  </a:cubicBezTo>
                  <a:lnTo>
                    <a:pt x="163390" y="282483"/>
                  </a:lnTo>
                  <a:lnTo>
                    <a:pt x="215196" y="263358"/>
                  </a:lnTo>
                  <a:lnTo>
                    <a:pt x="130750" y="150903"/>
                  </a:lnTo>
                  <a:cubicBezTo>
                    <a:pt x="162631" y="140002"/>
                    <a:pt x="183695" y="114757"/>
                    <a:pt x="185023" y="79567"/>
                  </a:cubicBezTo>
                  <a:close/>
                  <a:moveTo>
                    <a:pt x="84257" y="123363"/>
                  </a:moveTo>
                  <a:lnTo>
                    <a:pt x="54274" y="123363"/>
                  </a:lnTo>
                  <a:lnTo>
                    <a:pt x="54274" y="41126"/>
                  </a:lnTo>
                  <a:lnTo>
                    <a:pt x="84257" y="41126"/>
                  </a:lnTo>
                  <a:cubicBezTo>
                    <a:pt x="109306" y="40552"/>
                    <a:pt x="129991" y="54322"/>
                    <a:pt x="130560" y="79567"/>
                  </a:cubicBezTo>
                  <a:cubicBezTo>
                    <a:pt x="129991" y="116669"/>
                    <a:pt x="99818" y="123554"/>
                    <a:pt x="84257" y="123363"/>
                  </a:cubicBez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DCEE56CD-D7BD-0C46-AEBF-44F888C0B9D8}"/>
                </a:ext>
              </a:extLst>
            </p:cNvPr>
            <p:cNvSpPr/>
            <p:nvPr/>
          </p:nvSpPr>
          <p:spPr>
            <a:xfrm>
              <a:off x="1919597" y="672010"/>
              <a:ext cx="250682" cy="282476"/>
            </a:xfrm>
            <a:custGeom>
              <a:avLst/>
              <a:gdLst>
                <a:gd name="connsiteX0" fmla="*/ 0 w 250682"/>
                <a:gd name="connsiteY0" fmla="*/ 266029 h 282476"/>
                <a:gd name="connsiteX1" fmla="*/ 46303 w 250682"/>
                <a:gd name="connsiteY1" fmla="*/ 282477 h 282476"/>
                <a:gd name="connsiteX2" fmla="*/ 79133 w 250682"/>
                <a:gd name="connsiteY2" fmla="*/ 202917 h 282476"/>
                <a:gd name="connsiteX3" fmla="*/ 174396 w 250682"/>
                <a:gd name="connsiteY3" fmla="*/ 202917 h 282476"/>
                <a:gd name="connsiteX4" fmla="*/ 201723 w 250682"/>
                <a:gd name="connsiteY4" fmla="*/ 282477 h 282476"/>
                <a:gd name="connsiteX5" fmla="*/ 250683 w 250682"/>
                <a:gd name="connsiteY5" fmla="*/ 266029 h 282476"/>
                <a:gd name="connsiteX6" fmla="*/ 152763 w 250682"/>
                <a:gd name="connsiteY6" fmla="*/ 0 h 282476"/>
                <a:gd name="connsiteX7" fmla="*/ 106460 w 250682"/>
                <a:gd name="connsiteY7" fmla="*/ 0 h 282476"/>
                <a:gd name="connsiteX8" fmla="*/ 0 w 250682"/>
                <a:gd name="connsiteY8" fmla="*/ 266029 h 282476"/>
                <a:gd name="connsiteX9" fmla="*/ 160543 w 250682"/>
                <a:gd name="connsiteY9" fmla="*/ 161798 h 282476"/>
                <a:gd name="connsiteX10" fmla="*/ 92417 w 250682"/>
                <a:gd name="connsiteY10" fmla="*/ 161798 h 282476"/>
                <a:gd name="connsiteX11" fmla="*/ 127903 w 250682"/>
                <a:gd name="connsiteY11" fmla="*/ 52020 h 282476"/>
                <a:gd name="connsiteX12" fmla="*/ 160543 w 250682"/>
                <a:gd name="connsiteY12" fmla="*/ 161798 h 28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0682" h="282476">
                  <a:moveTo>
                    <a:pt x="0" y="266029"/>
                  </a:moveTo>
                  <a:lnTo>
                    <a:pt x="46303" y="282477"/>
                  </a:lnTo>
                  <a:lnTo>
                    <a:pt x="79133" y="202917"/>
                  </a:lnTo>
                  <a:lnTo>
                    <a:pt x="174396" y="202917"/>
                  </a:lnTo>
                  <a:lnTo>
                    <a:pt x="201723" y="282477"/>
                  </a:lnTo>
                  <a:lnTo>
                    <a:pt x="250683" y="266029"/>
                  </a:lnTo>
                  <a:lnTo>
                    <a:pt x="152763" y="0"/>
                  </a:lnTo>
                  <a:lnTo>
                    <a:pt x="106460" y="0"/>
                  </a:lnTo>
                  <a:lnTo>
                    <a:pt x="0" y="266029"/>
                  </a:lnTo>
                  <a:close/>
                  <a:moveTo>
                    <a:pt x="160543" y="161798"/>
                  </a:moveTo>
                  <a:lnTo>
                    <a:pt x="92417" y="161798"/>
                  </a:lnTo>
                  <a:lnTo>
                    <a:pt x="127903" y="52020"/>
                  </a:lnTo>
                  <a:lnTo>
                    <a:pt x="160543" y="161798"/>
                  </a:ln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882DD6FE-0669-B04E-B5F3-96D25C77D26E}"/>
                </a:ext>
              </a:extLst>
            </p:cNvPr>
            <p:cNvSpPr/>
            <p:nvPr/>
          </p:nvSpPr>
          <p:spPr>
            <a:xfrm>
              <a:off x="1089365" y="672010"/>
              <a:ext cx="236831" cy="277121"/>
            </a:xfrm>
            <a:custGeom>
              <a:avLst/>
              <a:gdLst>
                <a:gd name="connsiteX0" fmla="*/ 2847 w 236831"/>
                <a:gd name="connsiteY0" fmla="*/ 0 h 277121"/>
                <a:gd name="connsiteX1" fmla="*/ 0 w 236831"/>
                <a:gd name="connsiteY1" fmla="*/ 277122 h 277121"/>
                <a:gd name="connsiteX2" fmla="*/ 95263 w 236831"/>
                <a:gd name="connsiteY2" fmla="*/ 277122 h 277121"/>
                <a:gd name="connsiteX3" fmla="*/ 236830 w 236831"/>
                <a:gd name="connsiteY3" fmla="*/ 137318 h 277121"/>
                <a:gd name="connsiteX4" fmla="*/ 92607 w 236831"/>
                <a:gd name="connsiteY4" fmla="*/ 191 h 277121"/>
                <a:gd name="connsiteX5" fmla="*/ 2847 w 236831"/>
                <a:gd name="connsiteY5" fmla="*/ 191 h 277121"/>
                <a:gd name="connsiteX6" fmla="*/ 185023 w 236831"/>
                <a:gd name="connsiteY6" fmla="*/ 134449 h 277121"/>
                <a:gd name="connsiteX7" fmla="*/ 84257 w 236831"/>
                <a:gd name="connsiteY7" fmla="*/ 233134 h 277121"/>
                <a:gd name="connsiteX8" fmla="*/ 51617 w 236831"/>
                <a:gd name="connsiteY8" fmla="*/ 233134 h 277121"/>
                <a:gd name="connsiteX9" fmla="*/ 51617 w 236831"/>
                <a:gd name="connsiteY9" fmla="*/ 43796 h 277121"/>
                <a:gd name="connsiteX10" fmla="*/ 95074 w 236831"/>
                <a:gd name="connsiteY10" fmla="*/ 43796 h 277121"/>
                <a:gd name="connsiteX11" fmla="*/ 185023 w 236831"/>
                <a:gd name="connsiteY11" fmla="*/ 134449 h 277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831" h="277121">
                  <a:moveTo>
                    <a:pt x="2847" y="0"/>
                  </a:moveTo>
                  <a:lnTo>
                    <a:pt x="0" y="277122"/>
                  </a:lnTo>
                  <a:lnTo>
                    <a:pt x="95263" y="277122"/>
                  </a:lnTo>
                  <a:cubicBezTo>
                    <a:pt x="167565" y="276165"/>
                    <a:pt x="237209" y="220129"/>
                    <a:pt x="236830" y="137318"/>
                  </a:cubicBezTo>
                  <a:cubicBezTo>
                    <a:pt x="237209" y="53550"/>
                    <a:pt x="179520" y="-956"/>
                    <a:pt x="92607" y="191"/>
                  </a:cubicBezTo>
                  <a:lnTo>
                    <a:pt x="2847" y="191"/>
                  </a:lnTo>
                  <a:close/>
                  <a:moveTo>
                    <a:pt x="185023" y="134449"/>
                  </a:moveTo>
                  <a:cubicBezTo>
                    <a:pt x="183885" y="197370"/>
                    <a:pt x="143654" y="232178"/>
                    <a:pt x="84257" y="233134"/>
                  </a:cubicBezTo>
                  <a:lnTo>
                    <a:pt x="51617" y="233134"/>
                  </a:lnTo>
                  <a:lnTo>
                    <a:pt x="51617" y="43796"/>
                  </a:lnTo>
                  <a:lnTo>
                    <a:pt x="95074" y="43796"/>
                  </a:lnTo>
                  <a:cubicBezTo>
                    <a:pt x="148398" y="43031"/>
                    <a:pt x="183885" y="83003"/>
                    <a:pt x="185023" y="134449"/>
                  </a:cubicBez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4B5F3DC-2241-8A4B-B31A-F3D581ACE5EC}"/>
                </a:ext>
              </a:extLst>
            </p:cNvPr>
            <p:cNvSpPr/>
            <p:nvPr/>
          </p:nvSpPr>
          <p:spPr>
            <a:xfrm>
              <a:off x="1429618" y="672010"/>
              <a:ext cx="54463" cy="276930"/>
            </a:xfrm>
            <a:custGeom>
              <a:avLst/>
              <a:gdLst>
                <a:gd name="connsiteX0" fmla="*/ 51806 w 54463"/>
                <a:gd name="connsiteY0" fmla="*/ 276930 h 276930"/>
                <a:gd name="connsiteX1" fmla="*/ 54463 w 54463"/>
                <a:gd name="connsiteY1" fmla="*/ 0 h 276930"/>
                <a:gd name="connsiteX2" fmla="*/ 2657 w 54463"/>
                <a:gd name="connsiteY2" fmla="*/ 0 h 276930"/>
                <a:gd name="connsiteX3" fmla="*/ 0 w 54463"/>
                <a:gd name="connsiteY3" fmla="*/ 276930 h 276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3" h="276930">
                  <a:moveTo>
                    <a:pt x="51806" y="276930"/>
                  </a:moveTo>
                  <a:lnTo>
                    <a:pt x="54463" y="0"/>
                  </a:lnTo>
                  <a:lnTo>
                    <a:pt x="2657" y="0"/>
                  </a:lnTo>
                  <a:lnTo>
                    <a:pt x="0" y="276930"/>
                  </a:lnTo>
                  <a:close/>
                </a:path>
              </a:pathLst>
            </a:custGeom>
            <a:solidFill>
              <a:srgbClr val="FFFFFF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0EA32648-E878-8644-BB91-4497C735CA64}"/>
                </a:ext>
              </a:extLst>
            </p:cNvPr>
            <p:cNvSpPr/>
            <p:nvPr/>
          </p:nvSpPr>
          <p:spPr>
            <a:xfrm>
              <a:off x="-24380" y="537562"/>
              <a:ext cx="2443445" cy="543341"/>
            </a:xfrm>
            <a:custGeom>
              <a:avLst/>
              <a:gdLst>
                <a:gd name="connsiteX0" fmla="*/ 674623 w 2443445"/>
                <a:gd name="connsiteY0" fmla="*/ 109778 h 543341"/>
                <a:gd name="connsiteX1" fmla="*/ 634772 w 2443445"/>
                <a:gd name="connsiteY1" fmla="*/ 0 h 543341"/>
                <a:gd name="connsiteX2" fmla="*/ 334560 w 2443445"/>
                <a:gd name="connsiteY2" fmla="*/ 109778 h 543341"/>
                <a:gd name="connsiteX3" fmla="*/ 0 w 2443445"/>
                <a:gd name="connsiteY3" fmla="*/ 109778 h 543341"/>
                <a:gd name="connsiteX4" fmla="*/ 0 w 2443445"/>
                <a:gd name="connsiteY4" fmla="*/ 433564 h 543341"/>
                <a:gd name="connsiteX5" fmla="*/ 341961 w 2443445"/>
                <a:gd name="connsiteY5" fmla="*/ 433564 h 543341"/>
                <a:gd name="connsiteX6" fmla="*/ 381812 w 2443445"/>
                <a:gd name="connsiteY6" fmla="*/ 543342 h 543341"/>
                <a:gd name="connsiteX7" fmla="*/ 681834 w 2443445"/>
                <a:gd name="connsiteY7" fmla="*/ 433564 h 543341"/>
                <a:gd name="connsiteX8" fmla="*/ 2443446 w 2443445"/>
                <a:gd name="connsiteY8" fmla="*/ 433564 h 543341"/>
                <a:gd name="connsiteX9" fmla="*/ 2443446 w 2443445"/>
                <a:gd name="connsiteY9" fmla="*/ 109778 h 543341"/>
                <a:gd name="connsiteX10" fmla="*/ 674623 w 2443445"/>
                <a:gd name="connsiteY10" fmla="*/ 109778 h 543341"/>
                <a:gd name="connsiteX11" fmla="*/ 573857 w 2443445"/>
                <a:gd name="connsiteY11" fmla="*/ 454984 h 543341"/>
                <a:gd name="connsiteX12" fmla="*/ 426028 w 2443445"/>
                <a:gd name="connsiteY12" fmla="*/ 448291 h 543341"/>
                <a:gd name="connsiteX13" fmla="*/ 327728 w 2443445"/>
                <a:gd name="connsiteY13" fmla="*/ 339087 h 543341"/>
                <a:gd name="connsiteX14" fmla="*/ 327728 w 2443445"/>
                <a:gd name="connsiteY14" fmla="*/ 339278 h 543341"/>
                <a:gd name="connsiteX15" fmla="*/ 327539 w 2443445"/>
                <a:gd name="connsiteY15" fmla="*/ 338895 h 543341"/>
                <a:gd name="connsiteX16" fmla="*/ 327728 w 2443445"/>
                <a:gd name="connsiteY16" fmla="*/ 339087 h 543341"/>
                <a:gd name="connsiteX17" fmla="*/ 315394 w 2443445"/>
                <a:gd name="connsiteY17" fmla="*/ 271002 h 543341"/>
                <a:gd name="connsiteX18" fmla="*/ 332852 w 2443445"/>
                <a:gd name="connsiteY18" fmla="*/ 190485 h 543341"/>
                <a:gd name="connsiteX19" fmla="*/ 442917 w 2443445"/>
                <a:gd name="connsiteY19" fmla="*/ 87975 h 543341"/>
                <a:gd name="connsiteX20" fmla="*/ 689046 w 2443445"/>
                <a:gd name="connsiteY20" fmla="*/ 203873 h 543341"/>
                <a:gd name="connsiteX21" fmla="*/ 683353 w 2443445"/>
                <a:gd name="connsiteY21" fmla="*/ 354387 h 543341"/>
                <a:gd name="connsiteX22" fmla="*/ 573857 w 2443445"/>
                <a:gd name="connsiteY22" fmla="*/ 454984 h 543341"/>
                <a:gd name="connsiteX23" fmla="*/ 2194471 w 2443445"/>
                <a:gd name="connsiteY23" fmla="*/ 400478 h 543341"/>
                <a:gd name="connsiteX24" fmla="*/ 2145511 w 2443445"/>
                <a:gd name="connsiteY24" fmla="*/ 416926 h 543341"/>
                <a:gd name="connsiteX25" fmla="*/ 2118184 w 2443445"/>
                <a:gd name="connsiteY25" fmla="*/ 337365 h 543341"/>
                <a:gd name="connsiteX26" fmla="*/ 2022921 w 2443445"/>
                <a:gd name="connsiteY26" fmla="*/ 337365 h 543341"/>
                <a:gd name="connsiteX27" fmla="*/ 1990091 w 2443445"/>
                <a:gd name="connsiteY27" fmla="*/ 416926 h 543341"/>
                <a:gd name="connsiteX28" fmla="*/ 1943788 w 2443445"/>
                <a:gd name="connsiteY28" fmla="*/ 400478 h 543341"/>
                <a:gd name="connsiteX29" fmla="*/ 2049868 w 2443445"/>
                <a:gd name="connsiteY29" fmla="*/ 134449 h 543341"/>
                <a:gd name="connsiteX30" fmla="*/ 2096171 w 2443445"/>
                <a:gd name="connsiteY30" fmla="*/ 134449 h 543341"/>
                <a:gd name="connsiteX31" fmla="*/ 2194471 w 2443445"/>
                <a:gd name="connsiteY31" fmla="*/ 400478 h 543341"/>
                <a:gd name="connsiteX32" fmla="*/ 1674508 w 2443445"/>
                <a:gd name="connsiteY32" fmla="*/ 411379 h 543341"/>
                <a:gd name="connsiteX33" fmla="*/ 1622891 w 2443445"/>
                <a:gd name="connsiteY33" fmla="*/ 411379 h 543341"/>
                <a:gd name="connsiteX34" fmla="*/ 1625548 w 2443445"/>
                <a:gd name="connsiteY34" fmla="*/ 142481 h 543341"/>
                <a:gd name="connsiteX35" fmla="*/ 1671851 w 2443445"/>
                <a:gd name="connsiteY35" fmla="*/ 126034 h 543341"/>
                <a:gd name="connsiteX36" fmla="*/ 1802411 w 2443445"/>
                <a:gd name="connsiteY36" fmla="*/ 340043 h 543341"/>
                <a:gd name="connsiteX37" fmla="*/ 1799754 w 2443445"/>
                <a:gd name="connsiteY37" fmla="*/ 134449 h 543341"/>
                <a:gd name="connsiteX38" fmla="*/ 1851371 w 2443445"/>
                <a:gd name="connsiteY38" fmla="*/ 134449 h 543341"/>
                <a:gd name="connsiteX39" fmla="*/ 1848714 w 2443445"/>
                <a:gd name="connsiteY39" fmla="*/ 400478 h 543341"/>
                <a:gd name="connsiteX40" fmla="*/ 1797098 w 2443445"/>
                <a:gd name="connsiteY40" fmla="*/ 416926 h 543341"/>
                <a:gd name="connsiteX41" fmla="*/ 1671851 w 2443445"/>
                <a:gd name="connsiteY41" fmla="*/ 205594 h 543341"/>
                <a:gd name="connsiteX42" fmla="*/ 1669194 w 2443445"/>
                <a:gd name="connsiteY42" fmla="*/ 205594 h 543341"/>
                <a:gd name="connsiteX43" fmla="*/ 1674508 w 2443445"/>
                <a:gd name="connsiteY43" fmla="*/ 411379 h 543341"/>
                <a:gd name="connsiteX44" fmla="*/ 1508461 w 2443445"/>
                <a:gd name="connsiteY44" fmla="*/ 134449 h 543341"/>
                <a:gd name="connsiteX45" fmla="*/ 1505805 w 2443445"/>
                <a:gd name="connsiteY45" fmla="*/ 411571 h 543341"/>
                <a:gd name="connsiteX46" fmla="*/ 1454188 w 2443445"/>
                <a:gd name="connsiteY46" fmla="*/ 411571 h 543341"/>
                <a:gd name="connsiteX47" fmla="*/ 1456845 w 2443445"/>
                <a:gd name="connsiteY47" fmla="*/ 134449 h 543341"/>
                <a:gd name="connsiteX48" fmla="*/ 1508461 w 2443445"/>
                <a:gd name="connsiteY48" fmla="*/ 134449 h 543341"/>
                <a:gd name="connsiteX49" fmla="*/ 1350575 w 2443445"/>
                <a:gd name="connsiteY49" fmla="*/ 271575 h 543341"/>
                <a:gd name="connsiteX50" fmla="*/ 1209008 w 2443445"/>
                <a:gd name="connsiteY50" fmla="*/ 411379 h 543341"/>
                <a:gd name="connsiteX51" fmla="*/ 1113745 w 2443445"/>
                <a:gd name="connsiteY51" fmla="*/ 411379 h 543341"/>
                <a:gd name="connsiteX52" fmla="*/ 1116592 w 2443445"/>
                <a:gd name="connsiteY52" fmla="*/ 134258 h 543341"/>
                <a:gd name="connsiteX53" fmla="*/ 1206352 w 2443445"/>
                <a:gd name="connsiteY53" fmla="*/ 134258 h 543341"/>
                <a:gd name="connsiteX54" fmla="*/ 1350575 w 2443445"/>
                <a:gd name="connsiteY54" fmla="*/ 271575 h 543341"/>
                <a:gd name="connsiteX55" fmla="*/ 1029488 w 2443445"/>
                <a:gd name="connsiteY55" fmla="*/ 397801 h 543341"/>
                <a:gd name="connsiteX56" fmla="*/ 977682 w 2443445"/>
                <a:gd name="connsiteY56" fmla="*/ 416926 h 543341"/>
                <a:gd name="connsiteX57" fmla="*/ 901585 w 2443445"/>
                <a:gd name="connsiteY57" fmla="*/ 310017 h 543341"/>
                <a:gd name="connsiteX58" fmla="*/ 882419 w 2443445"/>
                <a:gd name="connsiteY58" fmla="*/ 299115 h 543341"/>
                <a:gd name="connsiteX59" fmla="*/ 866099 w 2443445"/>
                <a:gd name="connsiteY59" fmla="*/ 299115 h 543341"/>
                <a:gd name="connsiteX60" fmla="*/ 866099 w 2443445"/>
                <a:gd name="connsiteY60" fmla="*/ 411571 h 543341"/>
                <a:gd name="connsiteX61" fmla="*/ 814292 w 2443445"/>
                <a:gd name="connsiteY61" fmla="*/ 411571 h 543341"/>
                <a:gd name="connsiteX62" fmla="*/ 816949 w 2443445"/>
                <a:gd name="connsiteY62" fmla="*/ 134449 h 543341"/>
                <a:gd name="connsiteX63" fmla="*/ 904052 w 2443445"/>
                <a:gd name="connsiteY63" fmla="*/ 134449 h 543341"/>
                <a:gd name="connsiteX64" fmla="*/ 999315 w 2443445"/>
                <a:gd name="connsiteY64" fmla="*/ 214009 h 543341"/>
                <a:gd name="connsiteX65" fmla="*/ 944852 w 2443445"/>
                <a:gd name="connsiteY65" fmla="*/ 285345 h 543341"/>
                <a:gd name="connsiteX66" fmla="*/ 1029488 w 2443445"/>
                <a:gd name="connsiteY66" fmla="*/ 397801 h 54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443445" h="543341">
                  <a:moveTo>
                    <a:pt x="674623" y="109778"/>
                  </a:moveTo>
                  <a:lnTo>
                    <a:pt x="634772" y="0"/>
                  </a:lnTo>
                  <a:lnTo>
                    <a:pt x="334560" y="109778"/>
                  </a:lnTo>
                  <a:lnTo>
                    <a:pt x="0" y="109778"/>
                  </a:lnTo>
                  <a:lnTo>
                    <a:pt x="0" y="433564"/>
                  </a:lnTo>
                  <a:lnTo>
                    <a:pt x="341961" y="433564"/>
                  </a:lnTo>
                  <a:lnTo>
                    <a:pt x="381812" y="543342"/>
                  </a:lnTo>
                  <a:lnTo>
                    <a:pt x="681834" y="433564"/>
                  </a:lnTo>
                  <a:lnTo>
                    <a:pt x="2443446" y="433564"/>
                  </a:lnTo>
                  <a:lnTo>
                    <a:pt x="2443446" y="109778"/>
                  </a:lnTo>
                  <a:lnTo>
                    <a:pt x="674623" y="109778"/>
                  </a:lnTo>
                  <a:close/>
                  <a:moveTo>
                    <a:pt x="573857" y="454984"/>
                  </a:moveTo>
                  <a:cubicBezTo>
                    <a:pt x="525276" y="472771"/>
                    <a:pt x="472900" y="470476"/>
                    <a:pt x="426028" y="448291"/>
                  </a:cubicBezTo>
                  <a:cubicBezTo>
                    <a:pt x="379725" y="426297"/>
                    <a:pt x="344618" y="387473"/>
                    <a:pt x="327728" y="339087"/>
                  </a:cubicBezTo>
                  <a:cubicBezTo>
                    <a:pt x="327728" y="339087"/>
                    <a:pt x="327728" y="339278"/>
                    <a:pt x="327728" y="339278"/>
                  </a:cubicBezTo>
                  <a:lnTo>
                    <a:pt x="327539" y="338895"/>
                  </a:lnTo>
                  <a:cubicBezTo>
                    <a:pt x="327539" y="339087"/>
                    <a:pt x="327539" y="339087"/>
                    <a:pt x="327728" y="339087"/>
                  </a:cubicBezTo>
                  <a:cubicBezTo>
                    <a:pt x="319568" y="316902"/>
                    <a:pt x="315394" y="293952"/>
                    <a:pt x="315394" y="271002"/>
                  </a:cubicBezTo>
                  <a:cubicBezTo>
                    <a:pt x="315394" y="243462"/>
                    <a:pt x="321276" y="216304"/>
                    <a:pt x="332852" y="190485"/>
                  </a:cubicBezTo>
                  <a:cubicBezTo>
                    <a:pt x="354296" y="142864"/>
                    <a:pt x="393388" y="106526"/>
                    <a:pt x="442917" y="87975"/>
                  </a:cubicBezTo>
                  <a:cubicBezTo>
                    <a:pt x="542925" y="52211"/>
                    <a:pt x="653369" y="104231"/>
                    <a:pt x="689046" y="203873"/>
                  </a:cubicBezTo>
                  <a:cubicBezTo>
                    <a:pt x="707263" y="253598"/>
                    <a:pt x="705176" y="306765"/>
                    <a:pt x="683353" y="354387"/>
                  </a:cubicBezTo>
                  <a:cubicBezTo>
                    <a:pt x="661340" y="401434"/>
                    <a:pt x="622437" y="437198"/>
                    <a:pt x="573857" y="454984"/>
                  </a:cubicBezTo>
                  <a:close/>
                  <a:moveTo>
                    <a:pt x="2194471" y="400478"/>
                  </a:moveTo>
                  <a:lnTo>
                    <a:pt x="2145511" y="416926"/>
                  </a:lnTo>
                  <a:lnTo>
                    <a:pt x="2118184" y="337365"/>
                  </a:lnTo>
                  <a:lnTo>
                    <a:pt x="2022921" y="337365"/>
                  </a:lnTo>
                  <a:lnTo>
                    <a:pt x="1990091" y="416926"/>
                  </a:lnTo>
                  <a:lnTo>
                    <a:pt x="1943788" y="400478"/>
                  </a:lnTo>
                  <a:lnTo>
                    <a:pt x="2049868" y="134449"/>
                  </a:lnTo>
                  <a:lnTo>
                    <a:pt x="2096171" y="134449"/>
                  </a:lnTo>
                  <a:lnTo>
                    <a:pt x="2194471" y="400478"/>
                  </a:lnTo>
                  <a:close/>
                  <a:moveTo>
                    <a:pt x="1674508" y="411379"/>
                  </a:moveTo>
                  <a:lnTo>
                    <a:pt x="1622891" y="411379"/>
                  </a:lnTo>
                  <a:lnTo>
                    <a:pt x="1625548" y="142481"/>
                  </a:lnTo>
                  <a:lnTo>
                    <a:pt x="1671851" y="126034"/>
                  </a:lnTo>
                  <a:lnTo>
                    <a:pt x="1802411" y="340043"/>
                  </a:lnTo>
                  <a:lnTo>
                    <a:pt x="1799754" y="134449"/>
                  </a:lnTo>
                  <a:lnTo>
                    <a:pt x="1851371" y="134449"/>
                  </a:lnTo>
                  <a:lnTo>
                    <a:pt x="1848714" y="400478"/>
                  </a:lnTo>
                  <a:lnTo>
                    <a:pt x="1797098" y="416926"/>
                  </a:lnTo>
                  <a:lnTo>
                    <a:pt x="1671851" y="205594"/>
                  </a:lnTo>
                  <a:lnTo>
                    <a:pt x="1669194" y="205594"/>
                  </a:lnTo>
                  <a:lnTo>
                    <a:pt x="1674508" y="411379"/>
                  </a:lnTo>
                  <a:close/>
                  <a:moveTo>
                    <a:pt x="1508461" y="134449"/>
                  </a:moveTo>
                  <a:lnTo>
                    <a:pt x="1505805" y="411571"/>
                  </a:lnTo>
                  <a:lnTo>
                    <a:pt x="1454188" y="411571"/>
                  </a:lnTo>
                  <a:lnTo>
                    <a:pt x="1456845" y="134449"/>
                  </a:lnTo>
                  <a:lnTo>
                    <a:pt x="1508461" y="134449"/>
                  </a:lnTo>
                  <a:close/>
                  <a:moveTo>
                    <a:pt x="1350575" y="271575"/>
                  </a:moveTo>
                  <a:cubicBezTo>
                    <a:pt x="1350955" y="354578"/>
                    <a:pt x="1281310" y="410614"/>
                    <a:pt x="1209008" y="411379"/>
                  </a:cubicBezTo>
                  <a:lnTo>
                    <a:pt x="1113745" y="411379"/>
                  </a:lnTo>
                  <a:lnTo>
                    <a:pt x="1116592" y="134258"/>
                  </a:lnTo>
                  <a:lnTo>
                    <a:pt x="1206352" y="134258"/>
                  </a:lnTo>
                  <a:cubicBezTo>
                    <a:pt x="1293265" y="133301"/>
                    <a:pt x="1350955" y="187808"/>
                    <a:pt x="1350575" y="271575"/>
                  </a:cubicBezTo>
                  <a:close/>
                  <a:moveTo>
                    <a:pt x="1029488" y="397801"/>
                  </a:moveTo>
                  <a:lnTo>
                    <a:pt x="977682" y="416926"/>
                  </a:lnTo>
                  <a:lnTo>
                    <a:pt x="901585" y="310017"/>
                  </a:lnTo>
                  <a:cubicBezTo>
                    <a:pt x="896841" y="302940"/>
                    <a:pt x="890958" y="300072"/>
                    <a:pt x="882419" y="299115"/>
                  </a:cubicBezTo>
                  <a:lnTo>
                    <a:pt x="866099" y="299115"/>
                  </a:lnTo>
                  <a:lnTo>
                    <a:pt x="866099" y="411571"/>
                  </a:lnTo>
                  <a:lnTo>
                    <a:pt x="814292" y="411571"/>
                  </a:lnTo>
                  <a:lnTo>
                    <a:pt x="816949" y="134449"/>
                  </a:lnTo>
                  <a:lnTo>
                    <a:pt x="904052" y="134449"/>
                  </a:lnTo>
                  <a:cubicBezTo>
                    <a:pt x="971040" y="133875"/>
                    <a:pt x="997987" y="170021"/>
                    <a:pt x="999315" y="214009"/>
                  </a:cubicBezTo>
                  <a:cubicBezTo>
                    <a:pt x="997987" y="249199"/>
                    <a:pt x="976923" y="274444"/>
                    <a:pt x="944852" y="285345"/>
                  </a:cubicBezTo>
                  <a:lnTo>
                    <a:pt x="1029488" y="397801"/>
                  </a:lnTo>
                  <a:close/>
                </a:path>
              </a:pathLst>
            </a:custGeom>
            <a:solidFill>
              <a:srgbClr val="F58220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953466C8-DFF3-1E46-B167-920F966D7F2B}"/>
                </a:ext>
              </a:extLst>
            </p:cNvPr>
            <p:cNvSpPr/>
            <p:nvPr/>
          </p:nvSpPr>
          <p:spPr>
            <a:xfrm>
              <a:off x="844375" y="713112"/>
              <a:ext cx="76286" cy="82258"/>
            </a:xfrm>
            <a:custGeom>
              <a:avLst/>
              <a:gdLst>
                <a:gd name="connsiteX0" fmla="*/ 29983 w 76286"/>
                <a:gd name="connsiteY0" fmla="*/ 17 h 82258"/>
                <a:gd name="connsiteX1" fmla="*/ 0 w 76286"/>
                <a:gd name="connsiteY1" fmla="*/ 17 h 82258"/>
                <a:gd name="connsiteX2" fmla="*/ 0 w 76286"/>
                <a:gd name="connsiteY2" fmla="*/ 82255 h 82258"/>
                <a:gd name="connsiteX3" fmla="*/ 29983 w 76286"/>
                <a:gd name="connsiteY3" fmla="*/ 82255 h 82258"/>
                <a:gd name="connsiteX4" fmla="*/ 76287 w 76286"/>
                <a:gd name="connsiteY4" fmla="*/ 38459 h 82258"/>
                <a:gd name="connsiteX5" fmla="*/ 29983 w 76286"/>
                <a:gd name="connsiteY5" fmla="*/ 17 h 8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86" h="82258">
                  <a:moveTo>
                    <a:pt x="29983" y="17"/>
                  </a:moveTo>
                  <a:lnTo>
                    <a:pt x="0" y="17"/>
                  </a:lnTo>
                  <a:lnTo>
                    <a:pt x="0" y="82255"/>
                  </a:lnTo>
                  <a:lnTo>
                    <a:pt x="29983" y="82255"/>
                  </a:lnTo>
                  <a:cubicBezTo>
                    <a:pt x="45544" y="82446"/>
                    <a:pt x="75717" y="75752"/>
                    <a:pt x="76287" y="38459"/>
                  </a:cubicBezTo>
                  <a:cubicBezTo>
                    <a:pt x="75717" y="13213"/>
                    <a:pt x="55033" y="-557"/>
                    <a:pt x="29983" y="17"/>
                  </a:cubicBezTo>
                  <a:close/>
                </a:path>
              </a:pathLst>
            </a:custGeom>
            <a:solidFill>
              <a:srgbClr val="F58220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061CD01B-5707-F747-8E1A-F7F9D8C2BD5E}"/>
                </a:ext>
              </a:extLst>
            </p:cNvPr>
            <p:cNvSpPr/>
            <p:nvPr/>
          </p:nvSpPr>
          <p:spPr>
            <a:xfrm>
              <a:off x="1141171" y="715981"/>
              <a:ext cx="133406" cy="189163"/>
            </a:xfrm>
            <a:custGeom>
              <a:avLst/>
              <a:gdLst>
                <a:gd name="connsiteX0" fmla="*/ 0 w 133406"/>
                <a:gd name="connsiteY0" fmla="*/ 189163 h 189163"/>
                <a:gd name="connsiteX1" fmla="*/ 32640 w 133406"/>
                <a:gd name="connsiteY1" fmla="*/ 189163 h 189163"/>
                <a:gd name="connsiteX2" fmla="*/ 133406 w 133406"/>
                <a:gd name="connsiteY2" fmla="*/ 90478 h 189163"/>
                <a:gd name="connsiteX3" fmla="*/ 43647 w 133406"/>
                <a:gd name="connsiteY3" fmla="*/ 17 h 189163"/>
                <a:gd name="connsiteX4" fmla="*/ 190 w 133406"/>
                <a:gd name="connsiteY4" fmla="*/ 17 h 189163"/>
                <a:gd name="connsiteX5" fmla="*/ 190 w 133406"/>
                <a:gd name="connsiteY5" fmla="*/ 189163 h 18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406" h="189163">
                  <a:moveTo>
                    <a:pt x="0" y="189163"/>
                  </a:moveTo>
                  <a:lnTo>
                    <a:pt x="32640" y="189163"/>
                  </a:lnTo>
                  <a:cubicBezTo>
                    <a:pt x="92037" y="188016"/>
                    <a:pt x="132078" y="153400"/>
                    <a:pt x="133406" y="90478"/>
                  </a:cubicBezTo>
                  <a:cubicBezTo>
                    <a:pt x="132268" y="39032"/>
                    <a:pt x="96781" y="-939"/>
                    <a:pt x="43647" y="17"/>
                  </a:cubicBezTo>
                  <a:lnTo>
                    <a:pt x="190" y="17"/>
                  </a:lnTo>
                  <a:lnTo>
                    <a:pt x="190" y="189163"/>
                  </a:lnTo>
                  <a:close/>
                </a:path>
              </a:pathLst>
            </a:custGeom>
            <a:solidFill>
              <a:srgbClr val="F58220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F7CC679A-632F-8B47-8D3C-CB02D30E5CCE}"/>
                </a:ext>
              </a:extLst>
            </p:cNvPr>
            <p:cNvSpPr/>
            <p:nvPr/>
          </p:nvSpPr>
          <p:spPr>
            <a:xfrm>
              <a:off x="2012204" y="724030"/>
              <a:ext cx="67936" cy="109777"/>
            </a:xfrm>
            <a:custGeom>
              <a:avLst/>
              <a:gdLst>
                <a:gd name="connsiteX0" fmla="*/ 67937 w 67936"/>
                <a:gd name="connsiteY0" fmla="*/ 109778 h 109777"/>
                <a:gd name="connsiteX1" fmla="*/ 35297 w 67936"/>
                <a:gd name="connsiteY1" fmla="*/ 0 h 109777"/>
                <a:gd name="connsiteX2" fmla="*/ 0 w 67936"/>
                <a:gd name="connsiteY2" fmla="*/ 109778 h 10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936" h="109777">
                  <a:moveTo>
                    <a:pt x="67937" y="109778"/>
                  </a:moveTo>
                  <a:lnTo>
                    <a:pt x="35297" y="0"/>
                  </a:lnTo>
                  <a:lnTo>
                    <a:pt x="0" y="109778"/>
                  </a:lnTo>
                  <a:close/>
                </a:path>
              </a:pathLst>
            </a:custGeom>
            <a:solidFill>
              <a:srgbClr val="F58220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D6490304-DC19-7B4D-9E91-AC03072AA142}"/>
                </a:ext>
              </a:extLst>
            </p:cNvPr>
            <p:cNvSpPr/>
            <p:nvPr/>
          </p:nvSpPr>
          <p:spPr>
            <a:xfrm>
              <a:off x="348080" y="671930"/>
              <a:ext cx="271104" cy="274585"/>
            </a:xfrm>
            <a:custGeom>
              <a:avLst/>
              <a:gdLst>
                <a:gd name="connsiteX0" fmla="*/ 89813 w 271104"/>
                <a:gd name="connsiteY0" fmla="*/ 7922 h 274585"/>
                <a:gd name="connsiteX1" fmla="*/ 12198 w 271104"/>
                <a:gd name="connsiteY1" fmla="*/ 80215 h 274585"/>
                <a:gd name="connsiteX2" fmla="*/ 8593 w 271104"/>
                <a:gd name="connsiteY2" fmla="*/ 184637 h 274585"/>
                <a:gd name="connsiteX3" fmla="*/ 8782 w 271104"/>
                <a:gd name="connsiteY3" fmla="*/ 185020 h 274585"/>
                <a:gd name="connsiteX4" fmla="*/ 77668 w 271104"/>
                <a:gd name="connsiteY4" fmla="*/ 261520 h 274585"/>
                <a:gd name="connsiteX5" fmla="*/ 181660 w 271104"/>
                <a:gd name="connsiteY5" fmla="*/ 266301 h 274585"/>
                <a:gd name="connsiteX6" fmla="*/ 258516 w 271104"/>
                <a:gd name="connsiteY6" fmla="*/ 195538 h 274585"/>
                <a:gd name="connsiteX7" fmla="*/ 262312 w 271104"/>
                <a:gd name="connsiteY7" fmla="*/ 89203 h 274585"/>
                <a:gd name="connsiteX8" fmla="*/ 89813 w 271104"/>
                <a:gd name="connsiteY8" fmla="*/ 7922 h 274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104" h="274585">
                  <a:moveTo>
                    <a:pt x="89813" y="7922"/>
                  </a:moveTo>
                  <a:cubicBezTo>
                    <a:pt x="54896" y="20927"/>
                    <a:pt x="27379" y="46554"/>
                    <a:pt x="12198" y="80215"/>
                  </a:cubicBezTo>
                  <a:cubicBezTo>
                    <a:pt x="-2794" y="113301"/>
                    <a:pt x="-3932" y="150403"/>
                    <a:pt x="8593" y="184637"/>
                  </a:cubicBezTo>
                  <a:lnTo>
                    <a:pt x="8782" y="185020"/>
                  </a:lnTo>
                  <a:cubicBezTo>
                    <a:pt x="20548" y="218871"/>
                    <a:pt x="45218" y="246028"/>
                    <a:pt x="77668" y="261520"/>
                  </a:cubicBezTo>
                  <a:cubicBezTo>
                    <a:pt x="110687" y="277202"/>
                    <a:pt x="147313" y="278732"/>
                    <a:pt x="181660" y="266301"/>
                  </a:cubicBezTo>
                  <a:cubicBezTo>
                    <a:pt x="215819" y="253678"/>
                    <a:pt x="243145" y="228625"/>
                    <a:pt x="258516" y="195538"/>
                  </a:cubicBezTo>
                  <a:cubicBezTo>
                    <a:pt x="273887" y="162261"/>
                    <a:pt x="275216" y="124585"/>
                    <a:pt x="262312" y="89203"/>
                  </a:cubicBezTo>
                  <a:cubicBezTo>
                    <a:pt x="237642" y="19206"/>
                    <a:pt x="160027" y="-17132"/>
                    <a:pt x="89813" y="7922"/>
                  </a:cubicBezTo>
                  <a:close/>
                </a:path>
              </a:pathLst>
            </a:custGeom>
            <a:solidFill>
              <a:srgbClr val="F58220"/>
            </a:solidFill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</p:grpSp>
      <p:grpSp>
        <p:nvGrpSpPr>
          <p:cNvPr id="24" name="Graphic 13">
            <a:extLst>
              <a:ext uri="{FF2B5EF4-FFF2-40B4-BE49-F238E27FC236}">
                <a16:creationId xmlns:a16="http://schemas.microsoft.com/office/drawing/2014/main" id="{293E4F0F-452E-0548-912E-F46B4B42906C}"/>
              </a:ext>
            </a:extLst>
          </p:cNvPr>
          <p:cNvGrpSpPr/>
          <p:nvPr/>
        </p:nvGrpSpPr>
        <p:grpSpPr>
          <a:xfrm>
            <a:off x="816000" y="1094809"/>
            <a:ext cx="1626495" cy="215156"/>
            <a:chOff x="791620" y="1080521"/>
            <a:chExt cx="1626495" cy="215156"/>
          </a:xfrm>
          <a:solidFill>
            <a:schemeClr val="bg1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D092F62-0A4B-454D-A239-55629A6054C6}"/>
                </a:ext>
              </a:extLst>
            </p:cNvPr>
            <p:cNvSpPr/>
            <p:nvPr/>
          </p:nvSpPr>
          <p:spPr>
            <a:xfrm>
              <a:off x="791620" y="1091805"/>
              <a:ext cx="138909" cy="154147"/>
            </a:xfrm>
            <a:custGeom>
              <a:avLst/>
              <a:gdLst>
                <a:gd name="connsiteX0" fmla="*/ 66988 w 138909"/>
                <a:gd name="connsiteY0" fmla="*/ 0 h 154147"/>
                <a:gd name="connsiteX1" fmla="*/ 69645 w 138909"/>
                <a:gd name="connsiteY1" fmla="*/ 0 h 154147"/>
                <a:gd name="connsiteX2" fmla="*/ 138910 w 138909"/>
                <a:gd name="connsiteY2" fmla="*/ 154148 h 154147"/>
                <a:gd name="connsiteX3" fmla="*/ 106080 w 138909"/>
                <a:gd name="connsiteY3" fmla="*/ 154148 h 154147"/>
                <a:gd name="connsiteX4" fmla="*/ 98869 w 138909"/>
                <a:gd name="connsiteY4" fmla="*/ 136935 h 154147"/>
                <a:gd name="connsiteX5" fmla="*/ 37384 w 138909"/>
                <a:gd name="connsiteY5" fmla="*/ 136935 h 154147"/>
                <a:gd name="connsiteX6" fmla="*/ 30173 w 138909"/>
                <a:gd name="connsiteY6" fmla="*/ 154148 h 154147"/>
                <a:gd name="connsiteX7" fmla="*/ 0 w 138909"/>
                <a:gd name="connsiteY7" fmla="*/ 154148 h 154147"/>
                <a:gd name="connsiteX8" fmla="*/ 66988 w 138909"/>
                <a:gd name="connsiteY8" fmla="*/ 0 h 154147"/>
                <a:gd name="connsiteX9" fmla="*/ 87862 w 138909"/>
                <a:gd name="connsiteY9" fmla="*/ 110351 h 154147"/>
                <a:gd name="connsiteX10" fmla="*/ 76856 w 138909"/>
                <a:gd name="connsiteY10" fmla="*/ 83768 h 154147"/>
                <a:gd name="connsiteX11" fmla="*/ 67747 w 138909"/>
                <a:gd name="connsiteY11" fmla="*/ 56419 h 154147"/>
                <a:gd name="connsiteX12" fmla="*/ 58828 w 138909"/>
                <a:gd name="connsiteY12" fmla="*/ 83768 h 154147"/>
                <a:gd name="connsiteX13" fmla="*/ 47821 w 138909"/>
                <a:gd name="connsiteY13" fmla="*/ 110351 h 154147"/>
                <a:gd name="connsiteX14" fmla="*/ 87862 w 138909"/>
                <a:gd name="connsiteY14" fmla="*/ 110351 h 15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909" h="154147">
                  <a:moveTo>
                    <a:pt x="66988" y="0"/>
                  </a:moveTo>
                  <a:lnTo>
                    <a:pt x="69645" y="0"/>
                  </a:lnTo>
                  <a:lnTo>
                    <a:pt x="138910" y="154148"/>
                  </a:lnTo>
                  <a:lnTo>
                    <a:pt x="106080" y="154148"/>
                  </a:lnTo>
                  <a:lnTo>
                    <a:pt x="98869" y="136935"/>
                  </a:lnTo>
                  <a:lnTo>
                    <a:pt x="37384" y="136935"/>
                  </a:lnTo>
                  <a:lnTo>
                    <a:pt x="30173" y="154148"/>
                  </a:lnTo>
                  <a:lnTo>
                    <a:pt x="0" y="154148"/>
                  </a:lnTo>
                  <a:lnTo>
                    <a:pt x="66988" y="0"/>
                  </a:lnTo>
                  <a:close/>
                  <a:moveTo>
                    <a:pt x="87862" y="110351"/>
                  </a:moveTo>
                  <a:lnTo>
                    <a:pt x="76856" y="83768"/>
                  </a:lnTo>
                  <a:cubicBezTo>
                    <a:pt x="72491" y="73058"/>
                    <a:pt x="67747" y="56419"/>
                    <a:pt x="67747" y="56419"/>
                  </a:cubicBezTo>
                  <a:cubicBezTo>
                    <a:pt x="67747" y="56419"/>
                    <a:pt x="63382" y="73058"/>
                    <a:pt x="58828" y="83768"/>
                  </a:cubicBezTo>
                  <a:lnTo>
                    <a:pt x="47821" y="110351"/>
                  </a:lnTo>
                  <a:lnTo>
                    <a:pt x="87862" y="110351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BD574CA-C45B-5545-A6A7-C97080155E97}"/>
                </a:ext>
              </a:extLst>
            </p:cNvPr>
            <p:cNvSpPr/>
            <p:nvPr/>
          </p:nvSpPr>
          <p:spPr>
            <a:xfrm>
              <a:off x="947039" y="1083581"/>
              <a:ext cx="95263" cy="162371"/>
            </a:xfrm>
            <a:custGeom>
              <a:avLst/>
              <a:gdLst>
                <a:gd name="connsiteX0" fmla="*/ 0 w 95263"/>
                <a:gd name="connsiteY0" fmla="*/ 0 h 162371"/>
                <a:gd name="connsiteX1" fmla="*/ 30173 w 95263"/>
                <a:gd name="connsiteY1" fmla="*/ 0 h 162371"/>
                <a:gd name="connsiteX2" fmla="*/ 30173 w 95263"/>
                <a:gd name="connsiteY2" fmla="*/ 81473 h 162371"/>
                <a:gd name="connsiteX3" fmla="*/ 59587 w 95263"/>
                <a:gd name="connsiteY3" fmla="*/ 64451 h 162371"/>
                <a:gd name="connsiteX4" fmla="*/ 95263 w 95263"/>
                <a:gd name="connsiteY4" fmla="*/ 106909 h 162371"/>
                <a:gd name="connsiteX5" fmla="*/ 95263 w 95263"/>
                <a:gd name="connsiteY5" fmla="*/ 162180 h 162371"/>
                <a:gd name="connsiteX6" fmla="*/ 65090 w 95263"/>
                <a:gd name="connsiteY6" fmla="*/ 162180 h 162371"/>
                <a:gd name="connsiteX7" fmla="*/ 65090 w 95263"/>
                <a:gd name="connsiteY7" fmla="*/ 109013 h 162371"/>
                <a:gd name="connsiteX8" fmla="*/ 49340 w 95263"/>
                <a:gd name="connsiteY8" fmla="*/ 92183 h 162371"/>
                <a:gd name="connsiteX9" fmla="*/ 30173 w 95263"/>
                <a:gd name="connsiteY9" fmla="*/ 111116 h 162371"/>
                <a:gd name="connsiteX10" fmla="*/ 30173 w 95263"/>
                <a:gd name="connsiteY10" fmla="*/ 162372 h 162371"/>
                <a:gd name="connsiteX11" fmla="*/ 0 w 95263"/>
                <a:gd name="connsiteY11" fmla="*/ 162372 h 162371"/>
                <a:gd name="connsiteX12" fmla="*/ 0 w 95263"/>
                <a:gd name="connsiteY12" fmla="*/ 0 h 16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63" h="162371">
                  <a:moveTo>
                    <a:pt x="0" y="0"/>
                  </a:moveTo>
                  <a:lnTo>
                    <a:pt x="30173" y="0"/>
                  </a:lnTo>
                  <a:lnTo>
                    <a:pt x="30173" y="81473"/>
                  </a:lnTo>
                  <a:cubicBezTo>
                    <a:pt x="36056" y="70380"/>
                    <a:pt x="46493" y="64451"/>
                    <a:pt x="59587" y="64451"/>
                  </a:cubicBezTo>
                  <a:cubicBezTo>
                    <a:pt x="80272" y="64451"/>
                    <a:pt x="95263" y="79751"/>
                    <a:pt x="95263" y="106909"/>
                  </a:cubicBezTo>
                  <a:lnTo>
                    <a:pt x="95263" y="162180"/>
                  </a:lnTo>
                  <a:lnTo>
                    <a:pt x="65090" y="162180"/>
                  </a:lnTo>
                  <a:lnTo>
                    <a:pt x="65090" y="109013"/>
                  </a:lnTo>
                  <a:cubicBezTo>
                    <a:pt x="65090" y="98303"/>
                    <a:pt x="59967" y="92183"/>
                    <a:pt x="49340" y="92183"/>
                  </a:cubicBezTo>
                  <a:cubicBezTo>
                    <a:pt x="37384" y="92183"/>
                    <a:pt x="30173" y="98876"/>
                    <a:pt x="30173" y="111116"/>
                  </a:cubicBezTo>
                  <a:lnTo>
                    <a:pt x="30173" y="162372"/>
                  </a:lnTo>
                  <a:lnTo>
                    <a:pt x="0" y="1623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DC9C00A-F617-B149-9321-A5188BDC2181}"/>
                </a:ext>
              </a:extLst>
            </p:cNvPr>
            <p:cNvSpPr/>
            <p:nvPr/>
          </p:nvSpPr>
          <p:spPr>
            <a:xfrm>
              <a:off x="1061659" y="1147841"/>
              <a:ext cx="102853" cy="99832"/>
            </a:xfrm>
            <a:custGeom>
              <a:avLst/>
              <a:gdLst>
                <a:gd name="connsiteX0" fmla="*/ 55412 w 102853"/>
                <a:gd name="connsiteY0" fmla="*/ 74779 h 99832"/>
                <a:gd name="connsiteX1" fmla="*/ 79323 w 102853"/>
                <a:gd name="connsiteY1" fmla="*/ 67129 h 99832"/>
                <a:gd name="connsiteX2" fmla="*/ 96402 w 102853"/>
                <a:gd name="connsiteY2" fmla="*/ 85680 h 99832"/>
                <a:gd name="connsiteX3" fmla="*/ 55792 w 102853"/>
                <a:gd name="connsiteY3" fmla="*/ 99833 h 99832"/>
                <a:gd name="connsiteX4" fmla="*/ 0 w 102853"/>
                <a:gd name="connsiteY4" fmla="*/ 49725 h 99832"/>
                <a:gd name="connsiteX5" fmla="*/ 52376 w 102853"/>
                <a:gd name="connsiteY5" fmla="*/ 0 h 99832"/>
                <a:gd name="connsiteX6" fmla="*/ 102664 w 102853"/>
                <a:gd name="connsiteY6" fmla="*/ 59096 h 99832"/>
                <a:gd name="connsiteX7" fmla="*/ 30742 w 102853"/>
                <a:gd name="connsiteY7" fmla="*/ 59096 h 99832"/>
                <a:gd name="connsiteX8" fmla="*/ 55412 w 102853"/>
                <a:gd name="connsiteY8" fmla="*/ 74779 h 99832"/>
                <a:gd name="connsiteX9" fmla="*/ 72681 w 102853"/>
                <a:gd name="connsiteY9" fmla="*/ 41884 h 99832"/>
                <a:gd name="connsiteX10" fmla="*/ 52755 w 102853"/>
                <a:gd name="connsiteY10" fmla="*/ 25054 h 99832"/>
                <a:gd name="connsiteX11" fmla="*/ 30553 w 102853"/>
                <a:gd name="connsiteY11" fmla="*/ 41884 h 99832"/>
                <a:gd name="connsiteX12" fmla="*/ 72681 w 102853"/>
                <a:gd name="connsiteY12" fmla="*/ 41884 h 99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2853" h="99832">
                  <a:moveTo>
                    <a:pt x="55412" y="74779"/>
                  </a:moveTo>
                  <a:cubicBezTo>
                    <a:pt x="66419" y="74779"/>
                    <a:pt x="74579" y="70571"/>
                    <a:pt x="79323" y="67129"/>
                  </a:cubicBezTo>
                  <a:lnTo>
                    <a:pt x="96402" y="85680"/>
                  </a:lnTo>
                  <a:cubicBezTo>
                    <a:pt x="87293" y="93713"/>
                    <a:pt x="75717" y="99833"/>
                    <a:pt x="55792" y="99833"/>
                  </a:cubicBezTo>
                  <a:cubicBezTo>
                    <a:pt x="22013" y="99833"/>
                    <a:pt x="0" y="79178"/>
                    <a:pt x="0" y="49725"/>
                  </a:cubicBezTo>
                  <a:cubicBezTo>
                    <a:pt x="0" y="20655"/>
                    <a:pt x="22962" y="0"/>
                    <a:pt x="52376" y="0"/>
                  </a:cubicBezTo>
                  <a:cubicBezTo>
                    <a:pt x="86534" y="0"/>
                    <a:pt x="104941" y="25628"/>
                    <a:pt x="102664" y="59096"/>
                  </a:cubicBezTo>
                  <a:lnTo>
                    <a:pt x="30742" y="59096"/>
                  </a:lnTo>
                  <a:cubicBezTo>
                    <a:pt x="33779" y="69233"/>
                    <a:pt x="41749" y="74779"/>
                    <a:pt x="55412" y="74779"/>
                  </a:cubicBezTo>
                  <a:close/>
                  <a:moveTo>
                    <a:pt x="72681" y="41884"/>
                  </a:moveTo>
                  <a:cubicBezTo>
                    <a:pt x="71353" y="31365"/>
                    <a:pt x="64711" y="25054"/>
                    <a:pt x="52755" y="25054"/>
                  </a:cubicBezTo>
                  <a:cubicBezTo>
                    <a:pt x="40800" y="25054"/>
                    <a:pt x="32830" y="30409"/>
                    <a:pt x="30553" y="41884"/>
                  </a:cubicBezTo>
                  <a:lnTo>
                    <a:pt x="72681" y="41884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66E8B232-917D-124D-BEBB-40E9D2BD4FD5}"/>
                </a:ext>
              </a:extLst>
            </p:cNvPr>
            <p:cNvSpPr/>
            <p:nvPr/>
          </p:nvSpPr>
          <p:spPr>
            <a:xfrm>
              <a:off x="1181971" y="1148032"/>
              <a:ext cx="100766" cy="99832"/>
            </a:xfrm>
            <a:custGeom>
              <a:avLst/>
              <a:gdLst>
                <a:gd name="connsiteX0" fmla="*/ 0 w 100766"/>
                <a:gd name="connsiteY0" fmla="*/ 49725 h 99832"/>
                <a:gd name="connsiteX1" fmla="*/ 42318 w 100766"/>
                <a:gd name="connsiteY1" fmla="*/ 0 h 99832"/>
                <a:gd name="connsiteX2" fmla="*/ 71353 w 100766"/>
                <a:gd name="connsiteY2" fmla="*/ 16447 h 99832"/>
                <a:gd name="connsiteX3" fmla="*/ 70973 w 100766"/>
                <a:gd name="connsiteY3" fmla="*/ 2104 h 99832"/>
                <a:gd name="connsiteX4" fmla="*/ 100766 w 100766"/>
                <a:gd name="connsiteY4" fmla="*/ 2104 h 99832"/>
                <a:gd name="connsiteX5" fmla="*/ 100766 w 100766"/>
                <a:gd name="connsiteY5" fmla="*/ 97729 h 99832"/>
                <a:gd name="connsiteX6" fmla="*/ 70783 w 100766"/>
                <a:gd name="connsiteY6" fmla="*/ 97729 h 99832"/>
                <a:gd name="connsiteX7" fmla="*/ 71163 w 100766"/>
                <a:gd name="connsiteY7" fmla="*/ 83194 h 99832"/>
                <a:gd name="connsiteX8" fmla="*/ 41749 w 100766"/>
                <a:gd name="connsiteY8" fmla="*/ 99833 h 99832"/>
                <a:gd name="connsiteX9" fmla="*/ 0 w 100766"/>
                <a:gd name="connsiteY9" fmla="*/ 49725 h 99832"/>
                <a:gd name="connsiteX10" fmla="*/ 71353 w 100766"/>
                <a:gd name="connsiteY10" fmla="*/ 49725 h 99832"/>
                <a:gd name="connsiteX11" fmla="*/ 51047 w 100766"/>
                <a:gd name="connsiteY11" fmla="*/ 26775 h 99832"/>
                <a:gd name="connsiteX12" fmla="*/ 31122 w 100766"/>
                <a:gd name="connsiteY12" fmla="*/ 49725 h 99832"/>
                <a:gd name="connsiteX13" fmla="*/ 51047 w 100766"/>
                <a:gd name="connsiteY13" fmla="*/ 73249 h 99832"/>
                <a:gd name="connsiteX14" fmla="*/ 71353 w 100766"/>
                <a:gd name="connsiteY14" fmla="*/ 49725 h 99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766" h="99832">
                  <a:moveTo>
                    <a:pt x="0" y="49725"/>
                  </a:moveTo>
                  <a:cubicBezTo>
                    <a:pt x="0" y="20655"/>
                    <a:pt x="18407" y="0"/>
                    <a:pt x="42318" y="0"/>
                  </a:cubicBezTo>
                  <a:cubicBezTo>
                    <a:pt x="56551" y="0"/>
                    <a:pt x="65849" y="6120"/>
                    <a:pt x="71353" y="16447"/>
                  </a:cubicBezTo>
                  <a:lnTo>
                    <a:pt x="70973" y="2104"/>
                  </a:lnTo>
                  <a:lnTo>
                    <a:pt x="100766" y="2104"/>
                  </a:lnTo>
                  <a:lnTo>
                    <a:pt x="100766" y="97729"/>
                  </a:lnTo>
                  <a:lnTo>
                    <a:pt x="70783" y="97729"/>
                  </a:lnTo>
                  <a:lnTo>
                    <a:pt x="71163" y="83194"/>
                  </a:lnTo>
                  <a:cubicBezTo>
                    <a:pt x="66229" y="92948"/>
                    <a:pt x="56171" y="99833"/>
                    <a:pt x="41749" y="99833"/>
                  </a:cubicBezTo>
                  <a:cubicBezTo>
                    <a:pt x="19167" y="99833"/>
                    <a:pt x="0" y="79178"/>
                    <a:pt x="0" y="49725"/>
                  </a:cubicBezTo>
                  <a:close/>
                  <a:moveTo>
                    <a:pt x="71353" y="49725"/>
                  </a:moveTo>
                  <a:cubicBezTo>
                    <a:pt x="71353" y="35573"/>
                    <a:pt x="63952" y="26775"/>
                    <a:pt x="51047" y="26775"/>
                  </a:cubicBezTo>
                  <a:cubicBezTo>
                    <a:pt x="38333" y="26775"/>
                    <a:pt x="31122" y="35573"/>
                    <a:pt x="31122" y="49725"/>
                  </a:cubicBezTo>
                  <a:cubicBezTo>
                    <a:pt x="31122" y="64260"/>
                    <a:pt x="38333" y="73249"/>
                    <a:pt x="51047" y="73249"/>
                  </a:cubicBezTo>
                  <a:cubicBezTo>
                    <a:pt x="63952" y="73249"/>
                    <a:pt x="71353" y="64260"/>
                    <a:pt x="71353" y="49725"/>
                  </a:cubicBez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75F89E03-1B88-8D4A-87FB-F4749C767DF5}"/>
                </a:ext>
              </a:extLst>
            </p:cNvPr>
            <p:cNvSpPr/>
            <p:nvPr/>
          </p:nvSpPr>
          <p:spPr>
            <a:xfrm>
              <a:off x="1303233" y="1083581"/>
              <a:ext cx="102284" cy="164094"/>
            </a:xfrm>
            <a:custGeom>
              <a:avLst/>
              <a:gdLst>
                <a:gd name="connsiteX0" fmla="*/ 0 w 102284"/>
                <a:gd name="connsiteY0" fmla="*/ 114176 h 164094"/>
                <a:gd name="connsiteX1" fmla="*/ 42508 w 102284"/>
                <a:gd name="connsiteY1" fmla="*/ 64451 h 164094"/>
                <a:gd name="connsiteX2" fmla="*/ 72112 w 102284"/>
                <a:gd name="connsiteY2" fmla="*/ 79943 h 164094"/>
                <a:gd name="connsiteX3" fmla="*/ 72112 w 102284"/>
                <a:gd name="connsiteY3" fmla="*/ 0 h 164094"/>
                <a:gd name="connsiteX4" fmla="*/ 102285 w 102284"/>
                <a:gd name="connsiteY4" fmla="*/ 0 h 164094"/>
                <a:gd name="connsiteX5" fmla="*/ 102285 w 102284"/>
                <a:gd name="connsiteY5" fmla="*/ 162180 h 164094"/>
                <a:gd name="connsiteX6" fmla="*/ 72112 w 102284"/>
                <a:gd name="connsiteY6" fmla="*/ 162180 h 164094"/>
                <a:gd name="connsiteX7" fmla="*/ 72871 w 102284"/>
                <a:gd name="connsiteY7" fmla="*/ 148219 h 164094"/>
                <a:gd name="connsiteX8" fmla="*/ 43077 w 102284"/>
                <a:gd name="connsiteY8" fmla="*/ 164093 h 164094"/>
                <a:gd name="connsiteX9" fmla="*/ 0 w 102284"/>
                <a:gd name="connsiteY9" fmla="*/ 114176 h 164094"/>
                <a:gd name="connsiteX10" fmla="*/ 73060 w 102284"/>
                <a:gd name="connsiteY10" fmla="*/ 114176 h 164094"/>
                <a:gd name="connsiteX11" fmla="*/ 51617 w 102284"/>
                <a:gd name="connsiteY11" fmla="*/ 91226 h 164094"/>
                <a:gd name="connsiteX12" fmla="*/ 30932 w 102284"/>
                <a:gd name="connsiteY12" fmla="*/ 114176 h 164094"/>
                <a:gd name="connsiteX13" fmla="*/ 51617 w 102284"/>
                <a:gd name="connsiteY13" fmla="*/ 137700 h 164094"/>
                <a:gd name="connsiteX14" fmla="*/ 73060 w 102284"/>
                <a:gd name="connsiteY14" fmla="*/ 114176 h 164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2284" h="164094">
                  <a:moveTo>
                    <a:pt x="0" y="114176"/>
                  </a:moveTo>
                  <a:cubicBezTo>
                    <a:pt x="0" y="84724"/>
                    <a:pt x="19546" y="64451"/>
                    <a:pt x="42508" y="64451"/>
                  </a:cubicBezTo>
                  <a:cubicBezTo>
                    <a:pt x="57689" y="64451"/>
                    <a:pt x="66039" y="70571"/>
                    <a:pt x="72112" y="79943"/>
                  </a:cubicBezTo>
                  <a:lnTo>
                    <a:pt x="72112" y="0"/>
                  </a:lnTo>
                  <a:lnTo>
                    <a:pt x="102285" y="0"/>
                  </a:lnTo>
                  <a:lnTo>
                    <a:pt x="102285" y="162180"/>
                  </a:lnTo>
                  <a:lnTo>
                    <a:pt x="72112" y="162180"/>
                  </a:lnTo>
                  <a:lnTo>
                    <a:pt x="72871" y="148219"/>
                  </a:lnTo>
                  <a:cubicBezTo>
                    <a:pt x="67557" y="158355"/>
                    <a:pt x="57500" y="164093"/>
                    <a:pt x="43077" y="164093"/>
                  </a:cubicBezTo>
                  <a:cubicBezTo>
                    <a:pt x="19736" y="164284"/>
                    <a:pt x="0" y="143629"/>
                    <a:pt x="0" y="114176"/>
                  </a:cubicBezTo>
                  <a:close/>
                  <a:moveTo>
                    <a:pt x="73060" y="114176"/>
                  </a:moveTo>
                  <a:cubicBezTo>
                    <a:pt x="73060" y="100024"/>
                    <a:pt x="64521" y="91226"/>
                    <a:pt x="51617" y="91226"/>
                  </a:cubicBezTo>
                  <a:cubicBezTo>
                    <a:pt x="38902" y="91226"/>
                    <a:pt x="30932" y="100024"/>
                    <a:pt x="30932" y="114176"/>
                  </a:cubicBezTo>
                  <a:cubicBezTo>
                    <a:pt x="30932" y="129285"/>
                    <a:pt x="38902" y="137700"/>
                    <a:pt x="51617" y="137700"/>
                  </a:cubicBezTo>
                  <a:cubicBezTo>
                    <a:pt x="64521" y="137700"/>
                    <a:pt x="73060" y="129285"/>
                    <a:pt x="73060" y="114176"/>
                  </a:cubicBez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99A38021-A3F4-284A-B307-0223BD4C37D3}"/>
                </a:ext>
              </a:extLst>
            </p:cNvPr>
            <p:cNvSpPr/>
            <p:nvPr/>
          </p:nvSpPr>
          <p:spPr>
            <a:xfrm>
              <a:off x="1474972" y="1148032"/>
              <a:ext cx="104561" cy="99832"/>
            </a:xfrm>
            <a:custGeom>
              <a:avLst/>
              <a:gdLst>
                <a:gd name="connsiteX0" fmla="*/ 0 w 104561"/>
                <a:gd name="connsiteY0" fmla="*/ 50108 h 99832"/>
                <a:gd name="connsiteX1" fmla="*/ 52376 w 104561"/>
                <a:gd name="connsiteY1" fmla="*/ 0 h 99832"/>
                <a:gd name="connsiteX2" fmla="*/ 104562 w 104561"/>
                <a:gd name="connsiteY2" fmla="*/ 50108 h 99832"/>
                <a:gd name="connsiteX3" fmla="*/ 52376 w 104561"/>
                <a:gd name="connsiteY3" fmla="*/ 99833 h 99832"/>
                <a:gd name="connsiteX4" fmla="*/ 0 w 104561"/>
                <a:gd name="connsiteY4" fmla="*/ 50108 h 99832"/>
                <a:gd name="connsiteX5" fmla="*/ 73820 w 104561"/>
                <a:gd name="connsiteY5" fmla="*/ 50108 h 99832"/>
                <a:gd name="connsiteX6" fmla="*/ 52376 w 104561"/>
                <a:gd name="connsiteY6" fmla="*/ 26010 h 99832"/>
                <a:gd name="connsiteX7" fmla="*/ 30742 w 104561"/>
                <a:gd name="connsiteY7" fmla="*/ 50108 h 99832"/>
                <a:gd name="connsiteX8" fmla="*/ 52376 w 104561"/>
                <a:gd name="connsiteY8" fmla="*/ 74205 h 99832"/>
                <a:gd name="connsiteX9" fmla="*/ 73820 w 104561"/>
                <a:gd name="connsiteY9" fmla="*/ 50108 h 99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561" h="99832">
                  <a:moveTo>
                    <a:pt x="0" y="50108"/>
                  </a:moveTo>
                  <a:cubicBezTo>
                    <a:pt x="0" y="20846"/>
                    <a:pt x="22962" y="0"/>
                    <a:pt x="52376" y="0"/>
                  </a:cubicBezTo>
                  <a:cubicBezTo>
                    <a:pt x="81790" y="0"/>
                    <a:pt x="104562" y="20846"/>
                    <a:pt x="104562" y="50108"/>
                  </a:cubicBezTo>
                  <a:cubicBezTo>
                    <a:pt x="104562" y="79178"/>
                    <a:pt x="81790" y="99833"/>
                    <a:pt x="52376" y="99833"/>
                  </a:cubicBezTo>
                  <a:cubicBezTo>
                    <a:pt x="22962" y="99833"/>
                    <a:pt x="0" y="79178"/>
                    <a:pt x="0" y="50108"/>
                  </a:cubicBezTo>
                  <a:close/>
                  <a:moveTo>
                    <a:pt x="73820" y="50108"/>
                  </a:moveTo>
                  <a:cubicBezTo>
                    <a:pt x="73820" y="35764"/>
                    <a:pt x="65849" y="26010"/>
                    <a:pt x="52376" y="26010"/>
                  </a:cubicBezTo>
                  <a:cubicBezTo>
                    <a:pt x="39092" y="26010"/>
                    <a:pt x="30742" y="35573"/>
                    <a:pt x="30742" y="50108"/>
                  </a:cubicBezTo>
                  <a:cubicBezTo>
                    <a:pt x="30742" y="64260"/>
                    <a:pt x="38902" y="74205"/>
                    <a:pt x="52376" y="74205"/>
                  </a:cubicBezTo>
                  <a:cubicBezTo>
                    <a:pt x="65849" y="74205"/>
                    <a:pt x="73820" y="64260"/>
                    <a:pt x="73820" y="50108"/>
                  </a:cubicBez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accent2"/>
                </a:solidFill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2D9D0DA7-0448-4C4C-AF55-64F06D3F5326}"/>
                </a:ext>
              </a:extLst>
            </p:cNvPr>
            <p:cNvSpPr/>
            <p:nvPr/>
          </p:nvSpPr>
          <p:spPr>
            <a:xfrm>
              <a:off x="1592818" y="1080521"/>
              <a:ext cx="79892" cy="165240"/>
            </a:xfrm>
            <a:custGeom>
              <a:avLst/>
              <a:gdLst>
                <a:gd name="connsiteX0" fmla="*/ 15751 w 79892"/>
                <a:gd name="connsiteY0" fmla="*/ 94669 h 165240"/>
                <a:gd name="connsiteX1" fmla="*/ 0 w 79892"/>
                <a:gd name="connsiteY1" fmla="*/ 94669 h 165240"/>
                <a:gd name="connsiteX2" fmla="*/ 0 w 79892"/>
                <a:gd name="connsiteY2" fmla="*/ 69424 h 165240"/>
                <a:gd name="connsiteX3" fmla="*/ 15751 w 79892"/>
                <a:gd name="connsiteY3" fmla="*/ 69424 h 165240"/>
                <a:gd name="connsiteX4" fmla="*/ 15751 w 79892"/>
                <a:gd name="connsiteY4" fmla="*/ 37294 h 165240"/>
                <a:gd name="connsiteX5" fmla="*/ 50668 w 79892"/>
                <a:gd name="connsiteY5" fmla="*/ 0 h 165240"/>
                <a:gd name="connsiteX6" fmla="*/ 79892 w 79892"/>
                <a:gd name="connsiteY6" fmla="*/ 12049 h 165240"/>
                <a:gd name="connsiteX7" fmla="*/ 63572 w 79892"/>
                <a:gd name="connsiteY7" fmla="*/ 32321 h 165240"/>
                <a:gd name="connsiteX8" fmla="*/ 54084 w 79892"/>
                <a:gd name="connsiteY8" fmla="*/ 27158 h 165240"/>
                <a:gd name="connsiteX9" fmla="*/ 45924 w 79892"/>
                <a:gd name="connsiteY9" fmla="*/ 36911 h 165240"/>
                <a:gd name="connsiteX10" fmla="*/ 45924 w 79892"/>
                <a:gd name="connsiteY10" fmla="*/ 69424 h 165240"/>
                <a:gd name="connsiteX11" fmla="*/ 71542 w 79892"/>
                <a:gd name="connsiteY11" fmla="*/ 69424 h 165240"/>
                <a:gd name="connsiteX12" fmla="*/ 71542 w 79892"/>
                <a:gd name="connsiteY12" fmla="*/ 94669 h 165240"/>
                <a:gd name="connsiteX13" fmla="*/ 45924 w 79892"/>
                <a:gd name="connsiteY13" fmla="*/ 94669 h 165240"/>
                <a:gd name="connsiteX14" fmla="*/ 45924 w 79892"/>
                <a:gd name="connsiteY14" fmla="*/ 165240 h 165240"/>
                <a:gd name="connsiteX15" fmla="*/ 15751 w 79892"/>
                <a:gd name="connsiteY15" fmla="*/ 165240 h 165240"/>
                <a:gd name="connsiteX16" fmla="*/ 15751 w 79892"/>
                <a:gd name="connsiteY16" fmla="*/ 94669 h 16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9892" h="165240">
                  <a:moveTo>
                    <a:pt x="15751" y="94669"/>
                  </a:moveTo>
                  <a:lnTo>
                    <a:pt x="0" y="94669"/>
                  </a:lnTo>
                  <a:lnTo>
                    <a:pt x="0" y="69424"/>
                  </a:lnTo>
                  <a:lnTo>
                    <a:pt x="15751" y="69424"/>
                  </a:lnTo>
                  <a:lnTo>
                    <a:pt x="15751" y="37294"/>
                  </a:lnTo>
                  <a:cubicBezTo>
                    <a:pt x="15751" y="12623"/>
                    <a:pt x="27327" y="0"/>
                    <a:pt x="50668" y="0"/>
                  </a:cubicBezTo>
                  <a:cubicBezTo>
                    <a:pt x="63952" y="0"/>
                    <a:pt x="72871" y="4016"/>
                    <a:pt x="79892" y="12049"/>
                  </a:cubicBezTo>
                  <a:lnTo>
                    <a:pt x="63572" y="32321"/>
                  </a:lnTo>
                  <a:cubicBezTo>
                    <a:pt x="61295" y="29644"/>
                    <a:pt x="58638" y="27158"/>
                    <a:pt x="54084" y="27158"/>
                  </a:cubicBezTo>
                  <a:cubicBezTo>
                    <a:pt x="49150" y="27158"/>
                    <a:pt x="45924" y="29835"/>
                    <a:pt x="45924" y="36911"/>
                  </a:cubicBezTo>
                  <a:lnTo>
                    <a:pt x="45924" y="69424"/>
                  </a:lnTo>
                  <a:lnTo>
                    <a:pt x="71542" y="69424"/>
                  </a:lnTo>
                  <a:lnTo>
                    <a:pt x="71542" y="94669"/>
                  </a:lnTo>
                  <a:lnTo>
                    <a:pt x="45924" y="94669"/>
                  </a:lnTo>
                  <a:lnTo>
                    <a:pt x="45924" y="165240"/>
                  </a:lnTo>
                  <a:lnTo>
                    <a:pt x="15751" y="165240"/>
                  </a:lnTo>
                  <a:lnTo>
                    <a:pt x="15751" y="94669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0045FFC4-1D7F-5640-9F96-5BDEFABBFC13}"/>
                </a:ext>
              </a:extLst>
            </p:cNvPr>
            <p:cNvSpPr/>
            <p:nvPr/>
          </p:nvSpPr>
          <p:spPr>
            <a:xfrm>
              <a:off x="1728691" y="1148032"/>
              <a:ext cx="91847" cy="99642"/>
            </a:xfrm>
            <a:custGeom>
              <a:avLst/>
              <a:gdLst>
                <a:gd name="connsiteX0" fmla="*/ 0 w 91847"/>
                <a:gd name="connsiteY0" fmla="*/ 49725 h 99642"/>
                <a:gd name="connsiteX1" fmla="*/ 51996 w 91847"/>
                <a:gd name="connsiteY1" fmla="*/ 0 h 99642"/>
                <a:gd name="connsiteX2" fmla="*/ 91848 w 91847"/>
                <a:gd name="connsiteY2" fmla="*/ 19125 h 99642"/>
                <a:gd name="connsiteX3" fmla="*/ 70404 w 91847"/>
                <a:gd name="connsiteY3" fmla="*/ 36720 h 99642"/>
                <a:gd name="connsiteX4" fmla="*/ 51996 w 91847"/>
                <a:gd name="connsiteY4" fmla="*/ 26584 h 99642"/>
                <a:gd name="connsiteX5" fmla="*/ 30742 w 91847"/>
                <a:gd name="connsiteY5" fmla="*/ 49725 h 99642"/>
                <a:gd name="connsiteX6" fmla="*/ 51996 w 91847"/>
                <a:gd name="connsiteY6" fmla="*/ 73440 h 99642"/>
                <a:gd name="connsiteX7" fmla="*/ 71163 w 91847"/>
                <a:gd name="connsiteY7" fmla="*/ 64451 h 99642"/>
                <a:gd name="connsiteX8" fmla="*/ 91468 w 91847"/>
                <a:gd name="connsiteY8" fmla="*/ 82429 h 99642"/>
                <a:gd name="connsiteX9" fmla="*/ 51996 w 91847"/>
                <a:gd name="connsiteY9" fmla="*/ 99641 h 99642"/>
                <a:gd name="connsiteX10" fmla="*/ 0 w 91847"/>
                <a:gd name="connsiteY10" fmla="*/ 49725 h 99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847" h="99642">
                  <a:moveTo>
                    <a:pt x="0" y="49725"/>
                  </a:moveTo>
                  <a:cubicBezTo>
                    <a:pt x="0" y="20655"/>
                    <a:pt x="22203" y="0"/>
                    <a:pt x="51996" y="0"/>
                  </a:cubicBezTo>
                  <a:cubicBezTo>
                    <a:pt x="70973" y="0"/>
                    <a:pt x="82359" y="6885"/>
                    <a:pt x="91848" y="19125"/>
                  </a:cubicBezTo>
                  <a:lnTo>
                    <a:pt x="70404" y="36720"/>
                  </a:lnTo>
                  <a:cubicBezTo>
                    <a:pt x="66798" y="30791"/>
                    <a:pt x="59397" y="26584"/>
                    <a:pt x="51996" y="26584"/>
                  </a:cubicBezTo>
                  <a:cubicBezTo>
                    <a:pt x="38333" y="26584"/>
                    <a:pt x="30742" y="36146"/>
                    <a:pt x="30742" y="49725"/>
                  </a:cubicBezTo>
                  <a:cubicBezTo>
                    <a:pt x="30742" y="63686"/>
                    <a:pt x="38333" y="73440"/>
                    <a:pt x="51996" y="73440"/>
                  </a:cubicBezTo>
                  <a:cubicBezTo>
                    <a:pt x="61485" y="73440"/>
                    <a:pt x="66798" y="69041"/>
                    <a:pt x="71163" y="64451"/>
                  </a:cubicBezTo>
                  <a:lnTo>
                    <a:pt x="91468" y="82429"/>
                  </a:lnTo>
                  <a:cubicBezTo>
                    <a:pt x="82169" y="92948"/>
                    <a:pt x="70973" y="99641"/>
                    <a:pt x="51996" y="99641"/>
                  </a:cubicBezTo>
                  <a:cubicBezTo>
                    <a:pt x="22203" y="99833"/>
                    <a:pt x="0" y="79178"/>
                    <a:pt x="0" y="49725"/>
                  </a:cubicBez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983CCBBA-DDF4-9B45-B3D6-00E99D155915}"/>
                </a:ext>
              </a:extLst>
            </p:cNvPr>
            <p:cNvSpPr/>
            <p:nvPr/>
          </p:nvSpPr>
          <p:spPr>
            <a:xfrm>
              <a:off x="1838187" y="1083581"/>
              <a:ext cx="95263" cy="162371"/>
            </a:xfrm>
            <a:custGeom>
              <a:avLst/>
              <a:gdLst>
                <a:gd name="connsiteX0" fmla="*/ 0 w 95263"/>
                <a:gd name="connsiteY0" fmla="*/ 0 h 162371"/>
                <a:gd name="connsiteX1" fmla="*/ 30173 w 95263"/>
                <a:gd name="connsiteY1" fmla="*/ 0 h 162371"/>
                <a:gd name="connsiteX2" fmla="*/ 30173 w 95263"/>
                <a:gd name="connsiteY2" fmla="*/ 81473 h 162371"/>
                <a:gd name="connsiteX3" fmla="*/ 59587 w 95263"/>
                <a:gd name="connsiteY3" fmla="*/ 64451 h 162371"/>
                <a:gd name="connsiteX4" fmla="*/ 95263 w 95263"/>
                <a:gd name="connsiteY4" fmla="*/ 106909 h 162371"/>
                <a:gd name="connsiteX5" fmla="*/ 95263 w 95263"/>
                <a:gd name="connsiteY5" fmla="*/ 162180 h 162371"/>
                <a:gd name="connsiteX6" fmla="*/ 65090 w 95263"/>
                <a:gd name="connsiteY6" fmla="*/ 162180 h 162371"/>
                <a:gd name="connsiteX7" fmla="*/ 65090 w 95263"/>
                <a:gd name="connsiteY7" fmla="*/ 109013 h 162371"/>
                <a:gd name="connsiteX8" fmla="*/ 49340 w 95263"/>
                <a:gd name="connsiteY8" fmla="*/ 92183 h 162371"/>
                <a:gd name="connsiteX9" fmla="*/ 30173 w 95263"/>
                <a:gd name="connsiteY9" fmla="*/ 111116 h 162371"/>
                <a:gd name="connsiteX10" fmla="*/ 30173 w 95263"/>
                <a:gd name="connsiteY10" fmla="*/ 162372 h 162371"/>
                <a:gd name="connsiteX11" fmla="*/ 0 w 95263"/>
                <a:gd name="connsiteY11" fmla="*/ 162372 h 162371"/>
                <a:gd name="connsiteX12" fmla="*/ 0 w 95263"/>
                <a:gd name="connsiteY12" fmla="*/ 0 h 16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63" h="162371">
                  <a:moveTo>
                    <a:pt x="0" y="0"/>
                  </a:moveTo>
                  <a:lnTo>
                    <a:pt x="30173" y="0"/>
                  </a:lnTo>
                  <a:lnTo>
                    <a:pt x="30173" y="81473"/>
                  </a:lnTo>
                  <a:cubicBezTo>
                    <a:pt x="36056" y="70380"/>
                    <a:pt x="46493" y="64451"/>
                    <a:pt x="59587" y="64451"/>
                  </a:cubicBezTo>
                  <a:cubicBezTo>
                    <a:pt x="80272" y="64451"/>
                    <a:pt x="95263" y="79751"/>
                    <a:pt x="95263" y="106909"/>
                  </a:cubicBezTo>
                  <a:lnTo>
                    <a:pt x="95263" y="162180"/>
                  </a:lnTo>
                  <a:lnTo>
                    <a:pt x="65090" y="162180"/>
                  </a:lnTo>
                  <a:lnTo>
                    <a:pt x="65090" y="109013"/>
                  </a:lnTo>
                  <a:cubicBezTo>
                    <a:pt x="65090" y="98303"/>
                    <a:pt x="59966" y="92183"/>
                    <a:pt x="49340" y="92183"/>
                  </a:cubicBezTo>
                  <a:cubicBezTo>
                    <a:pt x="37384" y="92183"/>
                    <a:pt x="30173" y="98876"/>
                    <a:pt x="30173" y="111116"/>
                  </a:cubicBezTo>
                  <a:lnTo>
                    <a:pt x="30173" y="162372"/>
                  </a:lnTo>
                  <a:lnTo>
                    <a:pt x="0" y="1623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50BD974C-B270-2048-BF9D-FB33F2550E01}"/>
                </a:ext>
              </a:extLst>
            </p:cNvPr>
            <p:cNvSpPr/>
            <p:nvPr/>
          </p:nvSpPr>
          <p:spPr>
            <a:xfrm>
              <a:off x="1953186" y="1148032"/>
              <a:ext cx="100766" cy="99832"/>
            </a:xfrm>
            <a:custGeom>
              <a:avLst/>
              <a:gdLst>
                <a:gd name="connsiteX0" fmla="*/ 0 w 100766"/>
                <a:gd name="connsiteY0" fmla="*/ 49725 h 99832"/>
                <a:gd name="connsiteX1" fmla="*/ 42318 w 100766"/>
                <a:gd name="connsiteY1" fmla="*/ 0 h 99832"/>
                <a:gd name="connsiteX2" fmla="*/ 71353 w 100766"/>
                <a:gd name="connsiteY2" fmla="*/ 16447 h 99832"/>
                <a:gd name="connsiteX3" fmla="*/ 70973 w 100766"/>
                <a:gd name="connsiteY3" fmla="*/ 2104 h 99832"/>
                <a:gd name="connsiteX4" fmla="*/ 100766 w 100766"/>
                <a:gd name="connsiteY4" fmla="*/ 2104 h 99832"/>
                <a:gd name="connsiteX5" fmla="*/ 100766 w 100766"/>
                <a:gd name="connsiteY5" fmla="*/ 97729 h 99832"/>
                <a:gd name="connsiteX6" fmla="*/ 70973 w 100766"/>
                <a:gd name="connsiteY6" fmla="*/ 97729 h 99832"/>
                <a:gd name="connsiteX7" fmla="*/ 71353 w 100766"/>
                <a:gd name="connsiteY7" fmla="*/ 83194 h 99832"/>
                <a:gd name="connsiteX8" fmla="*/ 41939 w 100766"/>
                <a:gd name="connsiteY8" fmla="*/ 99833 h 99832"/>
                <a:gd name="connsiteX9" fmla="*/ 0 w 100766"/>
                <a:gd name="connsiteY9" fmla="*/ 49725 h 99832"/>
                <a:gd name="connsiteX10" fmla="*/ 71353 w 100766"/>
                <a:gd name="connsiteY10" fmla="*/ 49725 h 99832"/>
                <a:gd name="connsiteX11" fmla="*/ 51047 w 100766"/>
                <a:gd name="connsiteY11" fmla="*/ 26775 h 99832"/>
                <a:gd name="connsiteX12" fmla="*/ 31122 w 100766"/>
                <a:gd name="connsiteY12" fmla="*/ 49725 h 99832"/>
                <a:gd name="connsiteX13" fmla="*/ 51047 w 100766"/>
                <a:gd name="connsiteY13" fmla="*/ 73249 h 99832"/>
                <a:gd name="connsiteX14" fmla="*/ 71353 w 100766"/>
                <a:gd name="connsiteY14" fmla="*/ 49725 h 99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766" h="99832">
                  <a:moveTo>
                    <a:pt x="0" y="49725"/>
                  </a:moveTo>
                  <a:cubicBezTo>
                    <a:pt x="0" y="20655"/>
                    <a:pt x="18407" y="0"/>
                    <a:pt x="42318" y="0"/>
                  </a:cubicBezTo>
                  <a:cubicBezTo>
                    <a:pt x="56551" y="0"/>
                    <a:pt x="65849" y="6120"/>
                    <a:pt x="71353" y="16447"/>
                  </a:cubicBezTo>
                  <a:lnTo>
                    <a:pt x="70973" y="2104"/>
                  </a:lnTo>
                  <a:lnTo>
                    <a:pt x="100766" y="2104"/>
                  </a:lnTo>
                  <a:lnTo>
                    <a:pt x="100766" y="97729"/>
                  </a:lnTo>
                  <a:lnTo>
                    <a:pt x="70973" y="97729"/>
                  </a:lnTo>
                  <a:lnTo>
                    <a:pt x="71353" y="83194"/>
                  </a:lnTo>
                  <a:cubicBezTo>
                    <a:pt x="66419" y="92948"/>
                    <a:pt x="56361" y="99833"/>
                    <a:pt x="41939" y="99833"/>
                  </a:cubicBezTo>
                  <a:cubicBezTo>
                    <a:pt x="19167" y="99833"/>
                    <a:pt x="0" y="79178"/>
                    <a:pt x="0" y="49725"/>
                  </a:cubicBezTo>
                  <a:close/>
                  <a:moveTo>
                    <a:pt x="71353" y="49725"/>
                  </a:moveTo>
                  <a:cubicBezTo>
                    <a:pt x="71353" y="35573"/>
                    <a:pt x="63952" y="26775"/>
                    <a:pt x="51047" y="26775"/>
                  </a:cubicBezTo>
                  <a:cubicBezTo>
                    <a:pt x="38333" y="26775"/>
                    <a:pt x="31122" y="35573"/>
                    <a:pt x="31122" y="49725"/>
                  </a:cubicBezTo>
                  <a:cubicBezTo>
                    <a:pt x="31122" y="64260"/>
                    <a:pt x="38333" y="73249"/>
                    <a:pt x="51047" y="73249"/>
                  </a:cubicBezTo>
                  <a:cubicBezTo>
                    <a:pt x="64141" y="73249"/>
                    <a:pt x="71353" y="64260"/>
                    <a:pt x="71353" y="49725"/>
                  </a:cubicBez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C35E0EFA-68A8-9641-858D-383B82FE2265}"/>
                </a:ext>
              </a:extLst>
            </p:cNvPr>
            <p:cNvSpPr/>
            <p:nvPr/>
          </p:nvSpPr>
          <p:spPr>
            <a:xfrm>
              <a:off x="2077673" y="1148032"/>
              <a:ext cx="95263" cy="97920"/>
            </a:xfrm>
            <a:custGeom>
              <a:avLst/>
              <a:gdLst>
                <a:gd name="connsiteX0" fmla="*/ 0 w 95263"/>
                <a:gd name="connsiteY0" fmla="*/ 2104 h 97920"/>
                <a:gd name="connsiteX1" fmla="*/ 30173 w 95263"/>
                <a:gd name="connsiteY1" fmla="*/ 2104 h 97920"/>
                <a:gd name="connsiteX2" fmla="*/ 29414 w 95263"/>
                <a:gd name="connsiteY2" fmla="*/ 17786 h 97920"/>
                <a:gd name="connsiteX3" fmla="*/ 59587 w 95263"/>
                <a:gd name="connsiteY3" fmla="*/ 0 h 97920"/>
                <a:gd name="connsiteX4" fmla="*/ 95263 w 95263"/>
                <a:gd name="connsiteY4" fmla="*/ 42458 h 97920"/>
                <a:gd name="connsiteX5" fmla="*/ 95263 w 95263"/>
                <a:gd name="connsiteY5" fmla="*/ 97729 h 97920"/>
                <a:gd name="connsiteX6" fmla="*/ 65090 w 95263"/>
                <a:gd name="connsiteY6" fmla="*/ 97729 h 97920"/>
                <a:gd name="connsiteX7" fmla="*/ 65090 w 95263"/>
                <a:gd name="connsiteY7" fmla="*/ 44561 h 97920"/>
                <a:gd name="connsiteX8" fmla="*/ 49340 w 95263"/>
                <a:gd name="connsiteY8" fmla="*/ 27731 h 97920"/>
                <a:gd name="connsiteX9" fmla="*/ 30173 w 95263"/>
                <a:gd name="connsiteY9" fmla="*/ 46665 h 97920"/>
                <a:gd name="connsiteX10" fmla="*/ 30173 w 95263"/>
                <a:gd name="connsiteY10" fmla="*/ 97920 h 97920"/>
                <a:gd name="connsiteX11" fmla="*/ 0 w 95263"/>
                <a:gd name="connsiteY11" fmla="*/ 97920 h 97920"/>
                <a:gd name="connsiteX12" fmla="*/ 0 w 95263"/>
                <a:gd name="connsiteY12" fmla="*/ 2104 h 9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63" h="97920">
                  <a:moveTo>
                    <a:pt x="0" y="2104"/>
                  </a:moveTo>
                  <a:lnTo>
                    <a:pt x="30173" y="2104"/>
                  </a:lnTo>
                  <a:lnTo>
                    <a:pt x="29414" y="17786"/>
                  </a:lnTo>
                  <a:cubicBezTo>
                    <a:pt x="35297" y="6311"/>
                    <a:pt x="46303" y="0"/>
                    <a:pt x="59587" y="0"/>
                  </a:cubicBezTo>
                  <a:cubicBezTo>
                    <a:pt x="80272" y="0"/>
                    <a:pt x="95263" y="15300"/>
                    <a:pt x="95263" y="42458"/>
                  </a:cubicBezTo>
                  <a:lnTo>
                    <a:pt x="95263" y="97729"/>
                  </a:lnTo>
                  <a:lnTo>
                    <a:pt x="65090" y="97729"/>
                  </a:lnTo>
                  <a:lnTo>
                    <a:pt x="65090" y="44561"/>
                  </a:lnTo>
                  <a:cubicBezTo>
                    <a:pt x="65090" y="33851"/>
                    <a:pt x="59967" y="27731"/>
                    <a:pt x="49340" y="27731"/>
                  </a:cubicBezTo>
                  <a:cubicBezTo>
                    <a:pt x="37384" y="27731"/>
                    <a:pt x="30173" y="34425"/>
                    <a:pt x="30173" y="46665"/>
                  </a:cubicBezTo>
                  <a:lnTo>
                    <a:pt x="30173" y="97920"/>
                  </a:lnTo>
                  <a:lnTo>
                    <a:pt x="0" y="97920"/>
                  </a:lnTo>
                  <a:lnTo>
                    <a:pt x="0" y="2104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7C9CFD71-D995-A646-9A2D-18B77637ECE2}"/>
                </a:ext>
              </a:extLst>
            </p:cNvPr>
            <p:cNvSpPr/>
            <p:nvPr/>
          </p:nvSpPr>
          <p:spPr>
            <a:xfrm>
              <a:off x="2192673" y="1148224"/>
              <a:ext cx="102474" cy="147453"/>
            </a:xfrm>
            <a:custGeom>
              <a:avLst/>
              <a:gdLst>
                <a:gd name="connsiteX0" fmla="*/ 569 w 102474"/>
                <a:gd name="connsiteY0" fmla="*/ 123930 h 147453"/>
                <a:gd name="connsiteX1" fmla="*/ 21823 w 102474"/>
                <a:gd name="connsiteY1" fmla="*/ 107291 h 147453"/>
                <a:gd name="connsiteX2" fmla="*/ 49909 w 102474"/>
                <a:gd name="connsiteY2" fmla="*/ 122209 h 147453"/>
                <a:gd name="connsiteX3" fmla="*/ 72491 w 102474"/>
                <a:gd name="connsiteY3" fmla="*/ 96390 h 147453"/>
                <a:gd name="connsiteX4" fmla="*/ 72491 w 102474"/>
                <a:gd name="connsiteY4" fmla="*/ 84915 h 147453"/>
                <a:gd name="connsiteX5" fmla="*/ 43077 w 102474"/>
                <a:gd name="connsiteY5" fmla="*/ 99833 h 147453"/>
                <a:gd name="connsiteX6" fmla="*/ 0 w 102474"/>
                <a:gd name="connsiteY6" fmla="*/ 49725 h 147453"/>
                <a:gd name="connsiteX7" fmla="*/ 42508 w 102474"/>
                <a:gd name="connsiteY7" fmla="*/ 0 h 147453"/>
                <a:gd name="connsiteX8" fmla="*/ 73060 w 102474"/>
                <a:gd name="connsiteY8" fmla="*/ 16830 h 147453"/>
                <a:gd name="connsiteX9" fmla="*/ 72301 w 102474"/>
                <a:gd name="connsiteY9" fmla="*/ 1912 h 147453"/>
                <a:gd name="connsiteX10" fmla="*/ 102474 w 102474"/>
                <a:gd name="connsiteY10" fmla="*/ 1912 h 147453"/>
                <a:gd name="connsiteX11" fmla="*/ 102474 w 102474"/>
                <a:gd name="connsiteY11" fmla="*/ 97346 h 147453"/>
                <a:gd name="connsiteX12" fmla="*/ 51237 w 102474"/>
                <a:gd name="connsiteY12" fmla="*/ 147454 h 147453"/>
                <a:gd name="connsiteX13" fmla="*/ 569 w 102474"/>
                <a:gd name="connsiteY13" fmla="*/ 123930 h 147453"/>
                <a:gd name="connsiteX14" fmla="*/ 73060 w 102474"/>
                <a:gd name="connsiteY14" fmla="*/ 49534 h 147453"/>
                <a:gd name="connsiteX15" fmla="*/ 51617 w 102474"/>
                <a:gd name="connsiteY15" fmla="*/ 26584 h 147453"/>
                <a:gd name="connsiteX16" fmla="*/ 30932 w 102474"/>
                <a:gd name="connsiteY16" fmla="*/ 49534 h 147453"/>
                <a:gd name="connsiteX17" fmla="*/ 51617 w 102474"/>
                <a:gd name="connsiteY17" fmla="*/ 73058 h 147453"/>
                <a:gd name="connsiteX18" fmla="*/ 73060 w 102474"/>
                <a:gd name="connsiteY18" fmla="*/ 49534 h 14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2474" h="147453">
                  <a:moveTo>
                    <a:pt x="569" y="123930"/>
                  </a:moveTo>
                  <a:lnTo>
                    <a:pt x="21823" y="107291"/>
                  </a:lnTo>
                  <a:cubicBezTo>
                    <a:pt x="28465" y="115515"/>
                    <a:pt x="36246" y="122209"/>
                    <a:pt x="49909" y="122209"/>
                  </a:cubicBezTo>
                  <a:cubicBezTo>
                    <a:pt x="63762" y="122209"/>
                    <a:pt x="72491" y="113794"/>
                    <a:pt x="72491" y="96390"/>
                  </a:cubicBezTo>
                  <a:lnTo>
                    <a:pt x="72491" y="84915"/>
                  </a:lnTo>
                  <a:cubicBezTo>
                    <a:pt x="67367" y="93713"/>
                    <a:pt x="57500" y="99833"/>
                    <a:pt x="43077" y="99833"/>
                  </a:cubicBezTo>
                  <a:cubicBezTo>
                    <a:pt x="19925" y="99833"/>
                    <a:pt x="0" y="79178"/>
                    <a:pt x="0" y="49725"/>
                  </a:cubicBezTo>
                  <a:cubicBezTo>
                    <a:pt x="0" y="20273"/>
                    <a:pt x="19546" y="0"/>
                    <a:pt x="42508" y="0"/>
                  </a:cubicBezTo>
                  <a:cubicBezTo>
                    <a:pt x="57689" y="0"/>
                    <a:pt x="67557" y="6694"/>
                    <a:pt x="73060" y="16830"/>
                  </a:cubicBezTo>
                  <a:lnTo>
                    <a:pt x="72301" y="1912"/>
                  </a:lnTo>
                  <a:lnTo>
                    <a:pt x="102474" y="1912"/>
                  </a:lnTo>
                  <a:lnTo>
                    <a:pt x="102474" y="97346"/>
                  </a:lnTo>
                  <a:cubicBezTo>
                    <a:pt x="102474" y="133684"/>
                    <a:pt x="78943" y="147454"/>
                    <a:pt x="51237" y="147454"/>
                  </a:cubicBezTo>
                  <a:cubicBezTo>
                    <a:pt x="25998" y="147454"/>
                    <a:pt x="11386" y="138465"/>
                    <a:pt x="569" y="123930"/>
                  </a:cubicBezTo>
                  <a:close/>
                  <a:moveTo>
                    <a:pt x="73060" y="49534"/>
                  </a:moveTo>
                  <a:cubicBezTo>
                    <a:pt x="73060" y="35381"/>
                    <a:pt x="64521" y="26584"/>
                    <a:pt x="51617" y="26584"/>
                  </a:cubicBezTo>
                  <a:cubicBezTo>
                    <a:pt x="38902" y="26584"/>
                    <a:pt x="30932" y="35381"/>
                    <a:pt x="30932" y="49534"/>
                  </a:cubicBezTo>
                  <a:cubicBezTo>
                    <a:pt x="30932" y="64643"/>
                    <a:pt x="38902" y="73058"/>
                    <a:pt x="51617" y="73058"/>
                  </a:cubicBezTo>
                  <a:cubicBezTo>
                    <a:pt x="64521" y="73058"/>
                    <a:pt x="73060" y="64643"/>
                    <a:pt x="73060" y="49534"/>
                  </a:cubicBez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C5F789FD-4BD9-C24F-AD20-2FA48F5DE3F0}"/>
                </a:ext>
              </a:extLst>
            </p:cNvPr>
            <p:cNvSpPr/>
            <p:nvPr/>
          </p:nvSpPr>
          <p:spPr>
            <a:xfrm>
              <a:off x="2315262" y="1147841"/>
              <a:ext cx="102852" cy="99832"/>
            </a:xfrm>
            <a:custGeom>
              <a:avLst/>
              <a:gdLst>
                <a:gd name="connsiteX0" fmla="*/ 55412 w 102852"/>
                <a:gd name="connsiteY0" fmla="*/ 74779 h 99832"/>
                <a:gd name="connsiteX1" fmla="*/ 79323 w 102852"/>
                <a:gd name="connsiteY1" fmla="*/ 67129 h 99832"/>
                <a:gd name="connsiteX2" fmla="*/ 96402 w 102852"/>
                <a:gd name="connsiteY2" fmla="*/ 85680 h 99832"/>
                <a:gd name="connsiteX3" fmla="*/ 55792 w 102852"/>
                <a:gd name="connsiteY3" fmla="*/ 99833 h 99832"/>
                <a:gd name="connsiteX4" fmla="*/ 0 w 102852"/>
                <a:gd name="connsiteY4" fmla="*/ 49725 h 99832"/>
                <a:gd name="connsiteX5" fmla="*/ 52376 w 102852"/>
                <a:gd name="connsiteY5" fmla="*/ 0 h 99832"/>
                <a:gd name="connsiteX6" fmla="*/ 102664 w 102852"/>
                <a:gd name="connsiteY6" fmla="*/ 59096 h 99832"/>
                <a:gd name="connsiteX7" fmla="*/ 30742 w 102852"/>
                <a:gd name="connsiteY7" fmla="*/ 59096 h 99832"/>
                <a:gd name="connsiteX8" fmla="*/ 55412 w 102852"/>
                <a:gd name="connsiteY8" fmla="*/ 74779 h 99832"/>
                <a:gd name="connsiteX9" fmla="*/ 72681 w 102852"/>
                <a:gd name="connsiteY9" fmla="*/ 41884 h 99832"/>
                <a:gd name="connsiteX10" fmla="*/ 52755 w 102852"/>
                <a:gd name="connsiteY10" fmla="*/ 25054 h 99832"/>
                <a:gd name="connsiteX11" fmla="*/ 30553 w 102852"/>
                <a:gd name="connsiteY11" fmla="*/ 41884 h 99832"/>
                <a:gd name="connsiteX12" fmla="*/ 72681 w 102852"/>
                <a:gd name="connsiteY12" fmla="*/ 41884 h 99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2852" h="99832">
                  <a:moveTo>
                    <a:pt x="55412" y="74779"/>
                  </a:moveTo>
                  <a:cubicBezTo>
                    <a:pt x="66419" y="74779"/>
                    <a:pt x="74579" y="70571"/>
                    <a:pt x="79323" y="67129"/>
                  </a:cubicBezTo>
                  <a:lnTo>
                    <a:pt x="96402" y="85680"/>
                  </a:lnTo>
                  <a:cubicBezTo>
                    <a:pt x="87293" y="93713"/>
                    <a:pt x="75717" y="99833"/>
                    <a:pt x="55792" y="99833"/>
                  </a:cubicBezTo>
                  <a:cubicBezTo>
                    <a:pt x="22013" y="99833"/>
                    <a:pt x="0" y="79178"/>
                    <a:pt x="0" y="49725"/>
                  </a:cubicBezTo>
                  <a:cubicBezTo>
                    <a:pt x="0" y="20655"/>
                    <a:pt x="22962" y="0"/>
                    <a:pt x="52376" y="0"/>
                  </a:cubicBezTo>
                  <a:cubicBezTo>
                    <a:pt x="86534" y="0"/>
                    <a:pt x="104942" y="25628"/>
                    <a:pt x="102664" y="59096"/>
                  </a:cubicBezTo>
                  <a:lnTo>
                    <a:pt x="30742" y="59096"/>
                  </a:lnTo>
                  <a:cubicBezTo>
                    <a:pt x="33779" y="69233"/>
                    <a:pt x="41749" y="74779"/>
                    <a:pt x="55412" y="74779"/>
                  </a:cubicBezTo>
                  <a:close/>
                  <a:moveTo>
                    <a:pt x="72681" y="41884"/>
                  </a:moveTo>
                  <a:cubicBezTo>
                    <a:pt x="71353" y="31365"/>
                    <a:pt x="64711" y="25054"/>
                    <a:pt x="52755" y="25054"/>
                  </a:cubicBezTo>
                  <a:cubicBezTo>
                    <a:pt x="40800" y="25054"/>
                    <a:pt x="32830" y="30409"/>
                    <a:pt x="30553" y="41884"/>
                  </a:cubicBezTo>
                  <a:lnTo>
                    <a:pt x="72681" y="41884"/>
                  </a:lnTo>
                  <a:close/>
                </a:path>
              </a:pathLst>
            </a:custGeom>
            <a:grpFill/>
            <a:ln w="18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>
                <a:solidFill>
                  <a:schemeClr val="tx2"/>
                </a:solidFill>
              </a:endParaRPr>
            </a:p>
          </p:txBody>
        </p:sp>
      </p:grp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EBD92D1-BF5F-EE48-9B44-E9C5D154DF28}"/>
              </a:ext>
            </a:extLst>
          </p:cNvPr>
          <p:cNvSpPr>
            <a:spLocks noGrp="1"/>
          </p:cNvSpPr>
          <p:nvPr>
            <p:ph type="body" sz="quarter" idx="1007"/>
          </p:nvPr>
        </p:nvSpPr>
        <p:spPr>
          <a:xfrm>
            <a:off x="821690" y="4596289"/>
            <a:ext cx="10714990" cy="1661993"/>
          </a:xfrm>
        </p:spPr>
        <p:txBody>
          <a:bodyPr/>
          <a:lstStyle/>
          <a:p>
            <a:pPr algn="ctr"/>
            <a:r>
              <a:rPr lang="en-US" sz="3600" b="1">
                <a:solidFill>
                  <a:schemeClr val="tx2"/>
                </a:solidFill>
              </a:rPr>
              <a:t>Sensitivity Labels</a:t>
            </a:r>
          </a:p>
          <a:p>
            <a:pPr algn="ctr"/>
            <a:endParaRPr lang="en-US" sz="3600" b="1">
              <a:solidFill>
                <a:schemeClr val="tx2"/>
              </a:solidFill>
            </a:endParaRPr>
          </a:p>
          <a:p>
            <a:pPr algn="ctr"/>
            <a:r>
              <a:rPr lang="en-US" sz="3600" b="1" i="1">
                <a:solidFill>
                  <a:schemeClr val="tx2"/>
                </a:solidFill>
              </a:rPr>
              <a:t>“Notes from the Field”</a:t>
            </a:r>
            <a:endParaRPr lang="en-US" sz="4400" b="1" i="1">
              <a:solidFill>
                <a:srgbClr val="000000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+mj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D8C4B2-1496-28EC-9AAC-9958F6C9F518}"/>
              </a:ext>
            </a:extLst>
          </p:cNvPr>
          <p:cNvGrpSpPr/>
          <p:nvPr/>
        </p:nvGrpSpPr>
        <p:grpSpPr>
          <a:xfrm>
            <a:off x="508012" y="3911419"/>
            <a:ext cx="2443445" cy="2443445"/>
            <a:chOff x="1551632" y="3945492"/>
            <a:chExt cx="2443445" cy="2443445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pic>
          <p:nvPicPr>
            <p:cNvPr id="2" name="Graphic 1" descr="Tag outline">
              <a:extLst>
                <a:ext uri="{FF2B5EF4-FFF2-40B4-BE49-F238E27FC236}">
                  <a16:creationId xmlns:a16="http://schemas.microsoft.com/office/drawing/2014/main" id="{972D20DE-2B24-A665-EBCC-9F5EC2BC0B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51632" y="3945492"/>
              <a:ext cx="2443445" cy="2443445"/>
            </a:xfrm>
            <a:prstGeom prst="rect">
              <a:avLst/>
            </a:prstGeom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</p:pic>
        <p:pic>
          <p:nvPicPr>
            <p:cNvPr id="41986" name="Picture 2">
              <a:extLst>
                <a:ext uri="{FF2B5EF4-FFF2-40B4-BE49-F238E27FC236}">
                  <a16:creationId xmlns:a16="http://schemas.microsoft.com/office/drawing/2014/main" id="{93914C5E-D641-D285-387C-A2650FDA9A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808146">
              <a:off x="2359471" y="5214006"/>
              <a:ext cx="1076745" cy="238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Graphic 6" descr="Tag outline">
            <a:extLst>
              <a:ext uri="{FF2B5EF4-FFF2-40B4-BE49-F238E27FC236}">
                <a16:creationId xmlns:a16="http://schemas.microsoft.com/office/drawing/2014/main" id="{7A811546-FD96-1BA6-BEAE-4FCDEE5CD1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8973563" y="3695580"/>
            <a:ext cx="3026524" cy="3026524"/>
          </a:xfrm>
          <a:prstGeom prst="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9EB6EFA-537B-2E44-9E4F-F0D4332B3F7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4236470"/>
          </a:xfrm>
        </p:spPr>
      </p:pic>
      <p:sp>
        <p:nvSpPr>
          <p:cNvPr id="3" name="Text Placeholder 64">
            <a:extLst>
              <a:ext uri="{FF2B5EF4-FFF2-40B4-BE49-F238E27FC236}">
                <a16:creationId xmlns:a16="http://schemas.microsoft.com/office/drawing/2014/main" id="{29A9FA4D-6071-612C-20C5-0C72D379E8EB}"/>
              </a:ext>
            </a:extLst>
          </p:cNvPr>
          <p:cNvSpPr txBox="1">
            <a:spLocks/>
          </p:cNvSpPr>
          <p:nvPr/>
        </p:nvSpPr>
        <p:spPr bwMode="gray">
          <a:xfrm rot="18833094">
            <a:off x="9571472" y="4876867"/>
            <a:ext cx="1573347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61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None/>
              <a:defRPr lang="en-GB" sz="4400" b="0" i="0" kern="1200" cap="all" baseline="0" smtClean="0">
                <a:solidFill>
                  <a:schemeClr val="tx1"/>
                </a:solidFill>
                <a:effectLst/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defRPr>
            </a:lvl1pPr>
            <a:lvl2pPr marL="0" indent="0" algn="l" defTabSz="1088610" rtl="0" eaLnBrk="1" latinLnBrk="0" hangingPunct="1">
              <a:lnSpc>
                <a:spcPct val="85000"/>
              </a:lnSpc>
              <a:spcBef>
                <a:spcPts val="0"/>
              </a:spcBef>
              <a:buClr>
                <a:schemeClr val="accent1"/>
              </a:buClr>
              <a:buFontTx/>
              <a:buNone/>
              <a:defRPr sz="4400" b="1" kern="1200" cap="all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2pPr>
            <a:lvl3pPr marL="0" indent="0" algn="l" defTabSz="108861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4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61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0" indent="0" algn="l" defTabSz="108861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61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61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61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61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400" b="1">
                <a:solidFill>
                  <a:schemeClr val="tx2"/>
                </a:solidFill>
              </a:rPr>
              <a:t>Mathias Persoons</a:t>
            </a:r>
          </a:p>
          <a:p>
            <a:r>
              <a:rPr lang="nl-NL" sz="1400" b="1">
                <a:solidFill>
                  <a:schemeClr val="tx2"/>
                </a:solidFill>
              </a:rPr>
              <a:t>Toni Vervloet</a:t>
            </a:r>
          </a:p>
          <a:p>
            <a:r>
              <a:rPr lang="nl-NL" sz="1400" b="1">
                <a:solidFill>
                  <a:schemeClr val="tx2"/>
                </a:solidFill>
              </a:rPr>
              <a:t>26/6/2023</a:t>
            </a:r>
          </a:p>
          <a:p>
            <a:r>
              <a:rPr lang="nl-NL" sz="1400" b="1">
                <a:solidFill>
                  <a:schemeClr val="tx2"/>
                </a:solidFill>
              </a:rPr>
              <a:t>@Ordina</a:t>
            </a:r>
          </a:p>
        </p:txBody>
      </p:sp>
    </p:spTree>
    <p:extLst>
      <p:ext uri="{BB962C8B-B14F-4D97-AF65-F5344CB8AC3E}">
        <p14:creationId xmlns:p14="http://schemas.microsoft.com/office/powerpoint/2010/main" val="17883639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36D30-2F9E-0CF0-EADC-C8D6D00D2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itive Information Type Example </a:t>
            </a:r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C0108-5A05-EB98-4813-7EB5D359EC91}"/>
              </a:ext>
            </a:extLst>
          </p:cNvPr>
          <p:cNvSpPr txBox="1"/>
          <p:nvPr/>
        </p:nvSpPr>
        <p:spPr>
          <a:xfrm>
            <a:off x="4114799" y="2337641"/>
            <a:ext cx="3005054" cy="2954655"/>
          </a:xfrm>
          <a:prstGeom prst="rect">
            <a:avLst/>
          </a:prstGeom>
          <a:solidFill>
            <a:srgbClr val="CCE6E9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2400" dirty="0" err="1"/>
              <a:t>Identificatienummer</a:t>
            </a:r>
            <a:r>
              <a:rPr lang="en-US" sz="2400" dirty="0"/>
              <a:t> van het</a:t>
            </a:r>
          </a:p>
          <a:p>
            <a:r>
              <a:rPr lang="en-US" sz="2400" dirty="0" err="1">
                <a:highlight>
                  <a:srgbClr val="00FF00"/>
                </a:highlight>
              </a:rPr>
              <a:t>Rijksregister</a:t>
            </a:r>
            <a:endParaRPr lang="en-US" sz="2400" dirty="0">
              <a:highlight>
                <a:srgbClr val="00FF00"/>
              </a:highlight>
            </a:endParaRPr>
          </a:p>
          <a:p>
            <a:endParaRPr lang="en-US" sz="2400" b="1" dirty="0"/>
          </a:p>
          <a:p>
            <a:r>
              <a:rPr lang="en-US" sz="2400" b="1" dirty="0">
                <a:highlight>
                  <a:srgbClr val="FFFF00"/>
                </a:highlight>
              </a:rPr>
              <a:t>75.05.12-978.54</a:t>
            </a:r>
          </a:p>
          <a:p>
            <a:endParaRPr lang="en-US" sz="2400" dirty="0"/>
          </a:p>
          <a:p>
            <a:r>
              <a:rPr lang="en-US" sz="2400" dirty="0" err="1">
                <a:highlight>
                  <a:srgbClr val="00FF00"/>
                </a:highlight>
              </a:rPr>
              <a:t>Plaats</a:t>
            </a:r>
            <a:r>
              <a:rPr lang="en-US" sz="2400" dirty="0">
                <a:highlight>
                  <a:srgbClr val="00FF00"/>
                </a:highlight>
              </a:rPr>
              <a:t> van </a:t>
            </a:r>
            <a:r>
              <a:rPr lang="en-US" sz="2400" dirty="0" err="1">
                <a:highlight>
                  <a:srgbClr val="00FF00"/>
                </a:highlight>
              </a:rPr>
              <a:t>afgifte</a:t>
            </a:r>
            <a:endParaRPr lang="en-US" sz="2400" i="1" dirty="0"/>
          </a:p>
          <a:p>
            <a:r>
              <a:rPr lang="en-US" sz="2400" dirty="0"/>
              <a:t>Mechel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D0FE81-0205-C5BF-0CF6-80A376CCA757}"/>
              </a:ext>
            </a:extLst>
          </p:cNvPr>
          <p:cNvSpPr txBox="1"/>
          <p:nvPr/>
        </p:nvSpPr>
        <p:spPr>
          <a:xfrm>
            <a:off x="7444081" y="3686402"/>
            <a:ext cx="16270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dirty="0"/>
              <a:t>Primary el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21ECC8-92EC-8844-15C1-2E71C0F660E6}"/>
              </a:ext>
            </a:extLst>
          </p:cNvPr>
          <p:cNvSpPr txBox="1"/>
          <p:nvPr/>
        </p:nvSpPr>
        <p:spPr>
          <a:xfrm>
            <a:off x="7467158" y="2933702"/>
            <a:ext cx="2092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dirty="0"/>
              <a:t>Supporting elemen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84B8794-4A97-288A-8693-16DD0DD7DA46}"/>
              </a:ext>
            </a:extLst>
          </p:cNvPr>
          <p:cNvCxnSpPr>
            <a:cxnSpLocks/>
          </p:cNvCxnSpPr>
          <p:nvPr/>
        </p:nvCxnSpPr>
        <p:spPr>
          <a:xfrm>
            <a:off x="6877196" y="3203129"/>
            <a:ext cx="685902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D7491CE-AC6A-12DB-A464-9531A4D66811}"/>
              </a:ext>
            </a:extLst>
          </p:cNvPr>
          <p:cNvCxnSpPr>
            <a:cxnSpLocks/>
          </p:cNvCxnSpPr>
          <p:nvPr/>
        </p:nvCxnSpPr>
        <p:spPr>
          <a:xfrm>
            <a:off x="6877196" y="4009567"/>
            <a:ext cx="685902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B5C09D9-866A-1D12-7BB6-CB234393002F}"/>
              </a:ext>
            </a:extLst>
          </p:cNvPr>
          <p:cNvCxnSpPr>
            <a:cxnSpLocks/>
          </p:cNvCxnSpPr>
          <p:nvPr/>
        </p:nvCxnSpPr>
        <p:spPr>
          <a:xfrm flipV="1">
            <a:off x="6877196" y="4762268"/>
            <a:ext cx="6858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C487AA9-C339-9B72-5A4C-C946398A8ABB}"/>
              </a:ext>
            </a:extLst>
          </p:cNvPr>
          <p:cNvSpPr txBox="1"/>
          <p:nvPr/>
        </p:nvSpPr>
        <p:spPr>
          <a:xfrm>
            <a:off x="7479915" y="4439102"/>
            <a:ext cx="2092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dirty="0"/>
              <a:t>Supporting element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AA5A0CE0-097F-D8E4-D83C-B6919919E2D0}"/>
              </a:ext>
            </a:extLst>
          </p:cNvPr>
          <p:cNvSpPr/>
          <p:nvPr/>
        </p:nvSpPr>
        <p:spPr>
          <a:xfrm flipH="1">
            <a:off x="3790573" y="3203129"/>
            <a:ext cx="239777" cy="1592529"/>
          </a:xfrm>
          <a:prstGeom prst="rightBrace">
            <a:avLst>
              <a:gd name="adj1" fmla="val 46815"/>
              <a:gd name="adj2" fmla="val 50746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C9CC95-29BB-BA2E-BFCC-E927B82DEA59}"/>
              </a:ext>
            </a:extLst>
          </p:cNvPr>
          <p:cNvSpPr txBox="1"/>
          <p:nvPr/>
        </p:nvSpPr>
        <p:spPr>
          <a:xfrm>
            <a:off x="2690041" y="3897061"/>
            <a:ext cx="10944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/>
              <a:t>Proximity</a:t>
            </a:r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17009254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1" grpId="0"/>
      <p:bldP spid="12" grpId="0" animBg="1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36D30-2F9E-0CF0-EADC-C8D6D00D2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itive Information Type Example </a:t>
            </a:r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C0108-5A05-EB98-4813-7EB5D359EC91}"/>
              </a:ext>
            </a:extLst>
          </p:cNvPr>
          <p:cNvSpPr txBox="1"/>
          <p:nvPr/>
        </p:nvSpPr>
        <p:spPr>
          <a:xfrm>
            <a:off x="4114799" y="2337641"/>
            <a:ext cx="3005054" cy="2954655"/>
          </a:xfrm>
          <a:prstGeom prst="rect">
            <a:avLst/>
          </a:prstGeom>
          <a:solidFill>
            <a:srgbClr val="CCE6E9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2400" dirty="0" err="1"/>
              <a:t>Identificatienummer</a:t>
            </a:r>
            <a:r>
              <a:rPr lang="en-US" sz="2400" dirty="0"/>
              <a:t> van het</a:t>
            </a:r>
          </a:p>
          <a:p>
            <a:r>
              <a:rPr lang="en-US" sz="2400" dirty="0" err="1">
                <a:highlight>
                  <a:srgbClr val="00FF00"/>
                </a:highlight>
              </a:rPr>
              <a:t>Rijksregister</a:t>
            </a:r>
            <a:endParaRPr lang="en-US" sz="2400" dirty="0">
              <a:highlight>
                <a:srgbClr val="00FF00"/>
              </a:highlight>
            </a:endParaRPr>
          </a:p>
          <a:p>
            <a:endParaRPr lang="en-US" sz="2400" b="1" dirty="0"/>
          </a:p>
          <a:p>
            <a:r>
              <a:rPr lang="en-US" sz="2400" b="1" dirty="0">
                <a:highlight>
                  <a:srgbClr val="FFFF00"/>
                </a:highlight>
              </a:rPr>
              <a:t>75.05.12-978.54</a:t>
            </a:r>
          </a:p>
          <a:p>
            <a:endParaRPr lang="en-US" sz="2400" dirty="0"/>
          </a:p>
          <a:p>
            <a:r>
              <a:rPr lang="en-US" sz="2400" dirty="0" err="1">
                <a:highlight>
                  <a:srgbClr val="00FF00"/>
                </a:highlight>
              </a:rPr>
              <a:t>Plaats</a:t>
            </a:r>
            <a:r>
              <a:rPr lang="en-US" sz="2400" dirty="0">
                <a:highlight>
                  <a:srgbClr val="00FF00"/>
                </a:highlight>
              </a:rPr>
              <a:t> van </a:t>
            </a:r>
            <a:r>
              <a:rPr lang="en-US" sz="2400" dirty="0" err="1">
                <a:highlight>
                  <a:srgbClr val="00FF00"/>
                </a:highlight>
              </a:rPr>
              <a:t>afgifte</a:t>
            </a:r>
            <a:endParaRPr lang="en-US" sz="2400" i="1" dirty="0"/>
          </a:p>
          <a:p>
            <a:r>
              <a:rPr lang="en-US" sz="2400" dirty="0"/>
              <a:t>Mechel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D0FE81-0205-C5BF-0CF6-80A376CCA757}"/>
              </a:ext>
            </a:extLst>
          </p:cNvPr>
          <p:cNvSpPr txBox="1"/>
          <p:nvPr/>
        </p:nvSpPr>
        <p:spPr>
          <a:xfrm>
            <a:off x="7444081" y="3686402"/>
            <a:ext cx="16270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dirty="0"/>
              <a:t>Primary el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21ECC8-92EC-8844-15C1-2E71C0F660E6}"/>
              </a:ext>
            </a:extLst>
          </p:cNvPr>
          <p:cNvSpPr txBox="1"/>
          <p:nvPr/>
        </p:nvSpPr>
        <p:spPr>
          <a:xfrm>
            <a:off x="7467158" y="2933702"/>
            <a:ext cx="2092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dirty="0"/>
              <a:t>Supporting elemen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84B8794-4A97-288A-8693-16DD0DD7DA46}"/>
              </a:ext>
            </a:extLst>
          </p:cNvPr>
          <p:cNvCxnSpPr>
            <a:cxnSpLocks/>
          </p:cNvCxnSpPr>
          <p:nvPr/>
        </p:nvCxnSpPr>
        <p:spPr>
          <a:xfrm>
            <a:off x="6877196" y="3203129"/>
            <a:ext cx="685902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D7491CE-AC6A-12DB-A464-9531A4D66811}"/>
              </a:ext>
            </a:extLst>
          </p:cNvPr>
          <p:cNvCxnSpPr>
            <a:cxnSpLocks/>
          </p:cNvCxnSpPr>
          <p:nvPr/>
        </p:nvCxnSpPr>
        <p:spPr>
          <a:xfrm>
            <a:off x="6877196" y="4009567"/>
            <a:ext cx="685902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B5C09D9-866A-1D12-7BB6-CB234393002F}"/>
              </a:ext>
            </a:extLst>
          </p:cNvPr>
          <p:cNvCxnSpPr>
            <a:cxnSpLocks/>
          </p:cNvCxnSpPr>
          <p:nvPr/>
        </p:nvCxnSpPr>
        <p:spPr>
          <a:xfrm flipV="1">
            <a:off x="6877196" y="4762268"/>
            <a:ext cx="6858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C487AA9-C339-9B72-5A4C-C946398A8ABB}"/>
              </a:ext>
            </a:extLst>
          </p:cNvPr>
          <p:cNvSpPr txBox="1"/>
          <p:nvPr/>
        </p:nvSpPr>
        <p:spPr>
          <a:xfrm>
            <a:off x="7479915" y="4439102"/>
            <a:ext cx="2092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800" dirty="0"/>
              <a:t>Supporting element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AA5A0CE0-097F-D8E4-D83C-B6919919E2D0}"/>
              </a:ext>
            </a:extLst>
          </p:cNvPr>
          <p:cNvSpPr/>
          <p:nvPr/>
        </p:nvSpPr>
        <p:spPr>
          <a:xfrm flipH="1">
            <a:off x="3790573" y="3203129"/>
            <a:ext cx="239777" cy="1592529"/>
          </a:xfrm>
          <a:prstGeom prst="rightBrace">
            <a:avLst>
              <a:gd name="adj1" fmla="val 46815"/>
              <a:gd name="adj2" fmla="val 50746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C9CC95-29BB-BA2E-BFCC-E927B82DEA59}"/>
              </a:ext>
            </a:extLst>
          </p:cNvPr>
          <p:cNvSpPr txBox="1"/>
          <p:nvPr/>
        </p:nvSpPr>
        <p:spPr>
          <a:xfrm>
            <a:off x="2690041" y="3897061"/>
            <a:ext cx="10944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/>
              <a:t>Proximity</a:t>
            </a:r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4F87DB-98FE-09F9-DE8E-DF198F31319A}"/>
              </a:ext>
            </a:extLst>
          </p:cNvPr>
          <p:cNvSpPr/>
          <p:nvPr/>
        </p:nvSpPr>
        <p:spPr>
          <a:xfrm>
            <a:off x="0" y="106680"/>
            <a:ext cx="12192000" cy="6751320"/>
          </a:xfrm>
          <a:prstGeom prst="rect">
            <a:avLst/>
          </a:prstGeom>
          <a:solidFill>
            <a:schemeClr val="bg1">
              <a:alpha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B388E0-69DC-40FD-956A-16400BF60A1C}"/>
              </a:ext>
            </a:extLst>
          </p:cNvPr>
          <p:cNvSpPr txBox="1"/>
          <p:nvPr/>
        </p:nvSpPr>
        <p:spPr>
          <a:xfrm>
            <a:off x="2411820" y="2174925"/>
            <a:ext cx="7368359" cy="520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610">
              <a:lnSpc>
                <a:spcPct val="94000"/>
              </a:lnSpc>
              <a:spcBef>
                <a:spcPct val="0"/>
              </a:spcBef>
            </a:pPr>
            <a:r>
              <a:rPr lang="en-US" sz="3600" b="1" cap="all" spc="80" dirty="0">
                <a:solidFill>
                  <a:srgbClr val="000000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j-cs"/>
              </a:rPr>
              <a:t>How does this look in purview?</a:t>
            </a:r>
            <a:endParaRPr lang="nl-NL" sz="3600" b="1" cap="all" spc="80" dirty="0" err="1">
              <a:solidFill>
                <a:srgbClr val="000000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5255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17612A-A411-8B81-B988-EBE8884F0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D847C-C929-4965-B2F3-C4079158C636}" type="slidenum">
              <a:rPr lang="nl-BE" smtClean="0"/>
              <a:t>12</a:t>
            </a:fld>
            <a:endParaRPr lang="nl-B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15F86F-A6F5-7552-0E80-DBD16378D3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2403" y="0"/>
            <a:ext cx="510719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3969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EEE11-08FC-153A-8467-307457B3B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D847C-C929-4965-B2F3-C4079158C636}" type="slidenum">
              <a:rPr lang="nl-BE" smtClean="0"/>
              <a:t>13</a:t>
            </a:fld>
            <a:endParaRPr lang="nl-B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BBBABA-8B18-B25C-CA69-B1A12C419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7934" y="0"/>
            <a:ext cx="52561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206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B8F25-F346-E6A3-3335-BE22FC785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D847C-C929-4965-B2F3-C4079158C636}" type="slidenum">
              <a:rPr lang="nl-BE" smtClean="0"/>
              <a:t>14</a:t>
            </a:fld>
            <a:endParaRPr lang="nl-B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9506EC-3ED6-0613-B348-CB7289047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3823" y="0"/>
            <a:ext cx="52243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6761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59D6A0-C86D-DE44-0B3A-D16B8F964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noProof="1"/>
              <a:t> </a:t>
            </a:r>
            <a:fld id="{1336C48C-F87C-4E4B-81EF-5027B17D1F61}" type="slidenum">
              <a:rPr lang="nl-NL" noProof="1" smtClean="0"/>
              <a:pPr/>
              <a:t>15</a:t>
            </a:fld>
            <a:endParaRPr lang="nl-NL" noProof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BDE5F6-4FBF-94C5-219D-BDBBCF0519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525" y="1570038"/>
            <a:ext cx="11027626" cy="4227074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en-US" b="1" dirty="0"/>
              <a:t>Purview </a:t>
            </a:r>
            <a:r>
              <a:rPr lang="en-US" dirty="0"/>
              <a:t> </a:t>
            </a:r>
          </a:p>
          <a:p>
            <a:pPr>
              <a:lnSpc>
                <a:spcPct val="200000"/>
              </a:lnSpc>
            </a:pPr>
            <a:r>
              <a:rPr lang="en-US" dirty="0"/>
              <a:t>It’s like a stamp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Custom</a:t>
            </a:r>
            <a:r>
              <a:rPr lang="en-US" dirty="0"/>
              <a:t> to your needs or organization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Stored as </a:t>
            </a:r>
            <a:r>
              <a:rPr lang="en-US" b="1" dirty="0"/>
              <a:t>clear text</a:t>
            </a:r>
            <a:endParaRPr lang="en-US" dirty="0"/>
          </a:p>
          <a:p>
            <a:pPr lvl="1">
              <a:lnSpc>
                <a:spcPct val="200000"/>
              </a:lnSpc>
            </a:pPr>
            <a:r>
              <a:rPr lang="en-US" b="1" dirty="0"/>
              <a:t>Persistent</a:t>
            </a:r>
          </a:p>
          <a:p>
            <a:pPr>
              <a:lnSpc>
                <a:spcPct val="200000"/>
              </a:lnSpc>
            </a:pPr>
            <a:r>
              <a:rPr lang="en-US" dirty="0"/>
              <a:t>Assigned to users via a Label Policy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Users see it as a tag on the email or file</a:t>
            </a:r>
          </a:p>
          <a:p>
            <a:pPr>
              <a:lnSpc>
                <a:spcPct val="200000"/>
              </a:lnSpc>
            </a:pPr>
            <a:endParaRPr lang="en-US" dirty="0"/>
          </a:p>
          <a:p>
            <a:pPr>
              <a:lnSpc>
                <a:spcPct val="200000"/>
              </a:lnSpc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74EAF7-5167-B2D4-E0D3-3BE285869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00" y="584808"/>
            <a:ext cx="10883300" cy="972530"/>
          </a:xfrm>
        </p:spPr>
        <p:txBody>
          <a:bodyPr/>
          <a:lstStyle/>
          <a:p>
            <a:r>
              <a:rPr lang="en-US"/>
              <a:t>What is a sensitivity lab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E18B0F-F821-26E3-8EE2-B19CD6A6356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48892" r="-14582"/>
          <a:stretch/>
        </p:blipFill>
        <p:spPr>
          <a:xfrm>
            <a:off x="7048500" y="0"/>
            <a:ext cx="71452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5974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CF22AC-1F4D-5F26-CA7B-0189323F7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vity explorer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9F4DA4-C22E-14F5-5852-B7DD02D803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700" y="1570038"/>
            <a:ext cx="11027626" cy="3744000"/>
          </a:xfrm>
        </p:spPr>
        <p:txBody>
          <a:bodyPr/>
          <a:lstStyle/>
          <a:p>
            <a:r>
              <a:rPr lang="en-US" b="0" i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Review activity related to content that contains sensitive info or has labels applied</a:t>
            </a:r>
          </a:p>
          <a:p>
            <a:pPr marL="0" indent="0">
              <a:buNone/>
            </a:pPr>
            <a:endParaRPr lang="nl-NL"/>
          </a:p>
        </p:txBody>
      </p:sp>
      <p:pic>
        <p:nvPicPr>
          <p:cNvPr id="4" name="Content Placeholder 8">
            <a:extLst>
              <a:ext uri="{FF2B5EF4-FFF2-40B4-BE49-F238E27FC236}">
                <a16:creationId xmlns:a16="http://schemas.microsoft.com/office/drawing/2014/main" id="{5D3B2040-0340-93E8-1CFE-CE1444B32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7182" y="2198416"/>
            <a:ext cx="7482141" cy="39655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362386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A6EB3F-90EB-D701-8B69-627704380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387" y="587711"/>
            <a:ext cx="11027626" cy="1143000"/>
          </a:xfrm>
        </p:spPr>
        <p:txBody>
          <a:bodyPr anchor="t">
            <a:normAutofit/>
          </a:bodyPr>
          <a:lstStyle/>
          <a:p>
            <a:r>
              <a:rPr lang="en-US"/>
              <a:t>Information Protection &amp; Governance </a:t>
            </a:r>
            <a:endParaRPr lang="nl-N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19587F-3CE2-D911-8DB4-FA2710E05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4798" y="1902772"/>
            <a:ext cx="3760419" cy="35443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99B3604-04E4-9018-D293-A583DECA01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8505" y="1902772"/>
            <a:ext cx="3816519" cy="3546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39E7F2-D0C4-DB4F-F44D-07447F15ADF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74797" y="1902772"/>
            <a:ext cx="3760419" cy="354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315F19B-DA0F-4BE3-AD29-99CC1DEFB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1580662"/>
            <a:ext cx="6466854" cy="45788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Mark the content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Header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Footer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Watermark</a:t>
            </a:r>
          </a:p>
          <a:p>
            <a:pPr marL="0" indent="0">
              <a:buNone/>
            </a:pPr>
            <a:r>
              <a:rPr lang="en-US" sz="1800" b="1" dirty="0"/>
              <a:t>Encrypt your data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Emails, meeting invites, and documents</a:t>
            </a:r>
          </a:p>
          <a:p>
            <a:pPr marL="0" indent="0">
              <a:buNone/>
            </a:pPr>
            <a:r>
              <a:rPr lang="en-US" sz="1800" b="1" dirty="0"/>
              <a:t>Automatic or suggested labeling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Client-side (part of label) vs service-side (policy)</a:t>
            </a:r>
          </a:p>
          <a:p>
            <a:pPr marL="0" indent="0">
              <a:buNone/>
            </a:pPr>
            <a:r>
              <a:rPr lang="en-US" sz="1800" b="1" dirty="0"/>
              <a:t>Protect content in containers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Teams, MS365 groups or SPO Sites</a:t>
            </a:r>
          </a:p>
          <a:p>
            <a:pPr marL="0" indent="0">
              <a:buNone/>
            </a:pPr>
            <a:r>
              <a:rPr lang="en-US" sz="1800" b="1" dirty="0"/>
              <a:t>Restrict access to your data (SharePoint &amp; One Drive)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External sharing </a:t>
            </a:r>
          </a:p>
          <a:p>
            <a:pPr lvl="1"/>
            <a:r>
              <a:rPr lang="en-US" sz="1800" dirty="0">
                <a:solidFill>
                  <a:srgbClr val="58595B"/>
                </a:solidFill>
              </a:rPr>
              <a:t>Conditional Access settings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61DB462-A110-1A10-7B1B-3F5E78CAD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584200"/>
            <a:ext cx="10883300" cy="972530"/>
          </a:xfrm>
        </p:spPr>
        <p:txBody>
          <a:bodyPr/>
          <a:lstStyle/>
          <a:p>
            <a:r>
              <a:rPr lang="en-US"/>
              <a:t>What can they do?</a:t>
            </a:r>
          </a:p>
        </p:txBody>
      </p:sp>
      <p:pic>
        <p:nvPicPr>
          <p:cNvPr id="3" name="Picture 2" descr="3D black question marks with one yellow question mark">
            <a:extLst>
              <a:ext uri="{FF2B5EF4-FFF2-40B4-BE49-F238E27FC236}">
                <a16:creationId xmlns:a16="http://schemas.microsoft.com/office/drawing/2014/main" id="{3EC02E91-8D6A-6ED9-8C6C-8705DCF9AD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20" t="2570" r="22588" b="-2570"/>
          <a:stretch/>
        </p:blipFill>
        <p:spPr>
          <a:xfrm>
            <a:off x="7048500" y="-1"/>
            <a:ext cx="5064746" cy="7062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9784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779DBDF5-123D-64B3-EE20-3FB55F2F7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57644" y="6335897"/>
            <a:ext cx="517982" cy="252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nl-NL" noProof="1"/>
              <a:t> </a:t>
            </a:r>
            <a:fld id="{1336C48C-F87C-4E4B-81EF-5027B17D1F61}" type="slidenum">
              <a:rPr lang="nl-NL" noProof="1" smtClean="0"/>
              <a:pPr>
                <a:spcAft>
                  <a:spcPts val="600"/>
                </a:spcAft>
              </a:pPr>
              <a:t>19</a:t>
            </a:fld>
            <a:endParaRPr lang="nl-NL" noProof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96D550-AA1E-19CB-F8FC-4550598E9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00" y="579525"/>
            <a:ext cx="5159968" cy="976633"/>
          </a:xfrm>
        </p:spPr>
        <p:txBody>
          <a:bodyPr anchor="t">
            <a:normAutofit/>
          </a:bodyPr>
          <a:lstStyle/>
          <a:p>
            <a:r>
              <a:rPr lang="en-US"/>
              <a:t>How are labels used?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F7C231-56A6-D294-54B1-C61690C8C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928" y="1567737"/>
            <a:ext cx="6387800" cy="4453877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Labels are added to </a:t>
            </a:r>
            <a:r>
              <a:rPr lang="en-US" b="1" dirty="0"/>
              <a:t>a Label Policy </a:t>
            </a:r>
            <a:r>
              <a:rPr lang="en-US" dirty="0"/>
              <a:t>and assigned to users</a:t>
            </a:r>
          </a:p>
          <a:p>
            <a:pPr>
              <a:lnSpc>
                <a:spcPct val="200000"/>
              </a:lnSpc>
              <a:spcAft>
                <a:spcPts val="600"/>
              </a:spcAft>
            </a:pPr>
            <a:r>
              <a:rPr lang="en-US" b="1" dirty="0"/>
              <a:t>Usage</a:t>
            </a:r>
            <a:r>
              <a:rPr lang="en-US" dirty="0"/>
              <a:t> is determined in the Label Policy</a:t>
            </a:r>
          </a:p>
          <a:p>
            <a:pPr lvl="1"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Optional or required labeling</a:t>
            </a:r>
          </a:p>
          <a:p>
            <a:pPr lvl="1"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Business Justification (remove or lower the label)</a:t>
            </a:r>
          </a:p>
          <a:p>
            <a:pPr lvl="1"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Default label: Yes or No</a:t>
            </a:r>
            <a:endParaRPr lang="en-US" i="1" dirty="0"/>
          </a:p>
          <a:p>
            <a:pPr lvl="1"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Inheritance from attachments</a:t>
            </a:r>
          </a:p>
          <a:p>
            <a:pPr lvl="1"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Custom Help page -  refer to Customer Label Usage Policy</a:t>
            </a:r>
          </a:p>
          <a:p>
            <a:pPr>
              <a:lnSpc>
                <a:spcPct val="200000"/>
              </a:lnSpc>
              <a:spcAft>
                <a:spcPts val="600"/>
              </a:spcAft>
            </a:pPr>
            <a:r>
              <a:rPr lang="en-US" dirty="0"/>
              <a:t>Label can/will </a:t>
            </a:r>
            <a:r>
              <a:rPr lang="en-US" b="1" dirty="0"/>
              <a:t>change during the life cycle </a:t>
            </a:r>
            <a:r>
              <a:rPr lang="en-US" dirty="0"/>
              <a:t>of the document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i="1" dirty="0"/>
              <a:t>		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33789D-5059-2DE9-CC52-B008B1B5B3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46" t="-2078" r="14666" b="2078"/>
          <a:stretch/>
        </p:blipFill>
        <p:spPr>
          <a:xfrm>
            <a:off x="7127254" y="0"/>
            <a:ext cx="50647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0212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screenshot, electronics, electronic engineering&#10;&#10;Description automatically generated">
            <a:extLst>
              <a:ext uri="{FF2B5EF4-FFF2-40B4-BE49-F238E27FC236}">
                <a16:creationId xmlns:a16="http://schemas.microsoft.com/office/drawing/2014/main" id="{875568CF-7641-2325-9FCE-701567983BD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26"/>
          <a:stretch/>
        </p:blipFill>
        <p:spPr>
          <a:xfrm>
            <a:off x="0" y="-110836"/>
            <a:ext cx="12192000" cy="6092151"/>
          </a:xfrm>
          <a:prstGeom prst="rect">
            <a:avLst/>
          </a:prstGeom>
        </p:spPr>
      </p:pic>
      <p:pic>
        <p:nvPicPr>
          <p:cNvPr id="12" name="Graphic 11" descr="Tag outline">
            <a:extLst>
              <a:ext uri="{FF2B5EF4-FFF2-40B4-BE49-F238E27FC236}">
                <a16:creationId xmlns:a16="http://schemas.microsoft.com/office/drawing/2014/main" id="{D991B3FA-B097-61FC-E008-C6A32FD8A3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13850" y="3349439"/>
            <a:ext cx="2485074" cy="2485074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409A5C5-071F-142E-7D75-BCC1672F721A}"/>
              </a:ext>
            </a:extLst>
          </p:cNvPr>
          <p:cNvSpPr txBox="1">
            <a:spLocks/>
          </p:cNvSpPr>
          <p:nvPr/>
        </p:nvSpPr>
        <p:spPr bwMode="gray">
          <a:xfrm rot="2786291">
            <a:off x="8725948" y="4502140"/>
            <a:ext cx="1327736" cy="51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4000" indent="-34200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000" indent="-342000" algn="l" defTabSz="1088610" rtl="0" eaLnBrk="1" latinLnBrk="0" hangingPunct="1">
              <a:lnSpc>
                <a:spcPct val="137000"/>
              </a:lnSpc>
              <a:spcBef>
                <a:spcPts val="0"/>
              </a:spcBef>
              <a:buClr>
                <a:schemeClr val="accent1"/>
              </a:buClr>
              <a:buFont typeface="Calibri" panose="020F0502020204030204" pitchFamily="34" charset="0"/>
              <a:buChar char="●"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900" b="1" kern="1200" baseline="0">
                <a:solidFill>
                  <a:schemeClr val="accent5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610" rtl="0" eaLnBrk="1" latinLnBrk="0" hangingPunct="1">
              <a:lnSpc>
                <a:spcPct val="137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200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4000" indent="0" algn="l" defTabSz="1088610" rtl="0" eaLnBrk="1" latinLnBrk="0" hangingPunct="1">
              <a:lnSpc>
                <a:spcPct val="12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000" indent="0" algn="l" defTabSz="1088610" rtl="0" eaLnBrk="1" latinLnBrk="0" hangingPunct="1">
              <a:lnSpc>
                <a:spcPct val="137000"/>
              </a:lnSpc>
              <a:spcBef>
                <a:spcPts val="0"/>
              </a:spcBef>
              <a:buFont typeface="Arial" pitchFamily="34" charset="0"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/>
              <a:t>Mathias</a:t>
            </a:r>
            <a:endParaRPr lang="nl-NL" sz="2800" b="1"/>
          </a:p>
        </p:txBody>
      </p:sp>
      <p:pic>
        <p:nvPicPr>
          <p:cNvPr id="10" name="Graphic 9" descr="Tag outline">
            <a:extLst>
              <a:ext uri="{FF2B5EF4-FFF2-40B4-BE49-F238E27FC236}">
                <a16:creationId xmlns:a16="http://schemas.microsoft.com/office/drawing/2014/main" id="{B82D58FB-6AC7-420C-92CF-7628E453FF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54677" y="3370166"/>
            <a:ext cx="2433683" cy="2468880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9" name="Picture Placeholder 8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3D7D7C1F-28AB-6C68-06F6-2992F0A4A73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1" t="-648" r="9433" b="1155"/>
          <a:stretch/>
        </p:blipFill>
        <p:spPr>
          <a:xfrm>
            <a:off x="2862145" y="906778"/>
            <a:ext cx="2327019" cy="28346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077BB6F-5ACB-06F6-5CE0-6D52E7BE75A8}"/>
              </a:ext>
            </a:extLst>
          </p:cNvPr>
          <p:cNvSpPr txBox="1"/>
          <p:nvPr/>
        </p:nvSpPr>
        <p:spPr>
          <a:xfrm rot="2755184">
            <a:off x="4513807" y="4710079"/>
            <a:ext cx="11745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b="1">
                <a:solidFill>
                  <a:schemeClr val="accent1"/>
                </a:solidFill>
              </a:rPr>
              <a:t>TONI</a:t>
            </a:r>
          </a:p>
        </p:txBody>
      </p:sp>
      <p:pic>
        <p:nvPicPr>
          <p:cNvPr id="43010" name="Picture 2">
            <a:extLst>
              <a:ext uri="{FF2B5EF4-FFF2-40B4-BE49-F238E27FC236}">
                <a16:creationId xmlns:a16="http://schemas.microsoft.com/office/drawing/2014/main" id="{2389B263-00B3-B8EC-BA71-C3FBB42BC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29" r="11129"/>
          <a:stretch/>
        </p:blipFill>
        <p:spPr bwMode="auto">
          <a:xfrm>
            <a:off x="7249609" y="876685"/>
            <a:ext cx="2203711" cy="28346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4734406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3D91DF-4427-47DB-79BA-2F8B12080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372" y="581025"/>
            <a:ext cx="6388100" cy="990599"/>
          </a:xfrm>
        </p:spPr>
        <p:txBody>
          <a:bodyPr/>
          <a:lstStyle/>
          <a:p>
            <a:r>
              <a:rPr lang="en-US" dirty="0"/>
              <a:t>productivity vs. security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D2C646-ABE7-E893-0CD9-843A4C2325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372" y="1571624"/>
            <a:ext cx="6388100" cy="4562475"/>
          </a:xfrm>
        </p:spPr>
        <p:txBody>
          <a:bodyPr/>
          <a:lstStyle/>
          <a:p>
            <a:r>
              <a:rPr lang="nl-NL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KIS(S) - </a:t>
            </a:r>
            <a:r>
              <a:rPr lang="en-US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inciple (trying to stay polite)</a:t>
            </a: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ew top labels wi</a:t>
            </a:r>
            <a:r>
              <a:rPr lang="en-US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 (maybe) a couple of sub-labels</a:t>
            </a:r>
            <a:endParaRPr lang="nl-NL" sz="1800" dirty="0">
              <a:solidFill>
                <a:srgbClr val="000000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onfidential information may need to be shared with external parties.</a:t>
            </a:r>
          </a:p>
          <a:p>
            <a:r>
              <a:rPr lang="en-US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Users may lower the classification of the document if it blocks  them in their daily routine.</a:t>
            </a:r>
          </a:p>
          <a:p>
            <a:r>
              <a:rPr lang="en-US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ustom protection options can be difficult for users and may result in sharing issues.</a:t>
            </a:r>
          </a:p>
          <a:p>
            <a:r>
              <a:rPr lang="en-US" sz="18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ll actions can be monitored and logged. Also, important to review them on a regular basis. Certain patterns might need follow up</a:t>
            </a:r>
            <a:endParaRPr lang="nl-NL" sz="1800" b="0" i="0" u="none" strike="noStrike" baseline="0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endParaRPr lang="nl-NL" dirty="0"/>
          </a:p>
        </p:txBody>
      </p:sp>
      <p:pic>
        <p:nvPicPr>
          <p:cNvPr id="1032" name="Picture 8" descr="balance">
            <a:extLst>
              <a:ext uri="{FF2B5EF4-FFF2-40B4-BE49-F238E27FC236}">
                <a16:creationId xmlns:a16="http://schemas.microsoft.com/office/drawing/2014/main" id="{EE4874FA-4884-2741-0F30-BF81C4002F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8"/>
          <a:stretch/>
        </p:blipFill>
        <p:spPr bwMode="auto">
          <a:xfrm>
            <a:off x="7048500" y="0"/>
            <a:ext cx="51435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42704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96D550-AA1E-19CB-F8FC-4550598E9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592225"/>
            <a:ext cx="11027626" cy="965113"/>
          </a:xfrm>
        </p:spPr>
        <p:txBody>
          <a:bodyPr/>
          <a:lstStyle/>
          <a:p>
            <a:r>
              <a:rPr lang="en-US"/>
              <a:t>situation @ Customer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F7C231-56A6-D294-54B1-C61690C8C1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686" y="1570038"/>
            <a:ext cx="6400500" cy="435133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/>
              <a:t>Migration of data </a:t>
            </a:r>
            <a:r>
              <a:rPr lang="en-US" sz="1800" dirty="0"/>
              <a:t>to cloud (OneDrive/Teams/SharePoint)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In 2022, from file share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Training /adoption story – up to 30h per employee (knowledge/exercise)</a:t>
            </a:r>
          </a:p>
          <a:p>
            <a:pPr>
              <a:lnSpc>
                <a:spcPct val="150000"/>
              </a:lnSpc>
            </a:pPr>
            <a:r>
              <a:rPr lang="en-US" sz="1800" b="1" dirty="0"/>
              <a:t>Analysis</a:t>
            </a:r>
            <a:r>
              <a:rPr lang="en-US" sz="1800" dirty="0"/>
              <a:t> of data, define crown jewels (external exercise)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Existing </a:t>
            </a:r>
            <a:r>
              <a:rPr lang="en-US" sz="1800" b="1" dirty="0"/>
              <a:t>data classification model</a:t>
            </a:r>
            <a:r>
              <a:rPr lang="en-US" sz="1800" dirty="0"/>
              <a:t>, mostly on paper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Now that they are working on the cloud, they wanted to “quickly” implement some Information Security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 descr="A large room with rows of chairs&#10;&#10;Description automatically generated with low confidence">
            <a:extLst>
              <a:ext uri="{FF2B5EF4-FFF2-40B4-BE49-F238E27FC236}">
                <a16:creationId xmlns:a16="http://schemas.microsoft.com/office/drawing/2014/main" id="{DC70BCB5-C7E3-023B-8024-C12228A4DD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103626" y="0"/>
            <a:ext cx="9144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CE87E0-2EA6-1BF1-5EAF-059305B496B6}"/>
              </a:ext>
            </a:extLst>
          </p:cNvPr>
          <p:cNvSpPr txBox="1"/>
          <p:nvPr/>
        </p:nvSpPr>
        <p:spPr>
          <a:xfrm>
            <a:off x="7048500" y="6858000"/>
            <a:ext cx="91440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>
                <a:hlinkClick r:id="rId4" tooltip="https://commons.wikimedia.org/wiki/File:Brussels_-_Vlaams_Parlement.jpg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5" tooltip="https://creativecommons.org/licenses/by-sa/3.0/"/>
              </a:rPr>
              <a:t>CC BY-SA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8366380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3F1A6-CA5C-7F11-E14B-9E6DC99B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00" y="579525"/>
            <a:ext cx="5868000" cy="976633"/>
          </a:xfrm>
        </p:spPr>
        <p:txBody>
          <a:bodyPr/>
          <a:lstStyle/>
          <a:p>
            <a:r>
              <a:rPr lang="en-US" dirty="0"/>
              <a:t>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A61B43-77F0-1787-47CC-3566AF2DA5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42" y="1568589"/>
            <a:ext cx="6400500" cy="4516525"/>
          </a:xfrm>
        </p:spPr>
        <p:txBody>
          <a:bodyPr>
            <a:normAutofit/>
          </a:bodyPr>
          <a:lstStyle/>
          <a:p>
            <a:r>
              <a:rPr lang="en-US" sz="1800" b="1" dirty="0"/>
              <a:t>Kickoff</a:t>
            </a:r>
            <a:r>
              <a:rPr lang="en-US" sz="1800" dirty="0"/>
              <a:t> workshop</a:t>
            </a:r>
            <a:endParaRPr lang="en-US" sz="1800" b="1" dirty="0"/>
          </a:p>
          <a:p>
            <a:r>
              <a:rPr lang="en-US" sz="1800" dirty="0"/>
              <a:t>Data discovery on their dev tenant </a:t>
            </a:r>
          </a:p>
          <a:p>
            <a:pPr lvl="1"/>
            <a:r>
              <a:rPr lang="en-US" sz="1800" dirty="0"/>
              <a:t>Real data</a:t>
            </a:r>
          </a:p>
          <a:p>
            <a:pPr lvl="1"/>
            <a:r>
              <a:rPr lang="en-US" sz="1800" dirty="0"/>
              <a:t>Content Explorer</a:t>
            </a:r>
          </a:p>
          <a:p>
            <a:r>
              <a:rPr lang="en-US" sz="1800" dirty="0"/>
              <a:t>Three  workshops </a:t>
            </a:r>
          </a:p>
          <a:p>
            <a:pPr lvl="1"/>
            <a:r>
              <a:rPr lang="en-US" sz="1800" dirty="0"/>
              <a:t>Basic concepts &amp; training</a:t>
            </a:r>
          </a:p>
          <a:p>
            <a:pPr lvl="1"/>
            <a:r>
              <a:rPr lang="en-US" sz="1800" dirty="0"/>
              <a:t>Define Labels and Policies</a:t>
            </a:r>
          </a:p>
          <a:p>
            <a:r>
              <a:rPr lang="en-US" sz="1800" dirty="0"/>
              <a:t>Set up customer specific use cases</a:t>
            </a:r>
          </a:p>
          <a:p>
            <a:r>
              <a:rPr lang="en-US" sz="1800" dirty="0"/>
              <a:t>Test plan for each phase</a:t>
            </a:r>
          </a:p>
          <a:p>
            <a:pPr lvl="1"/>
            <a:r>
              <a:rPr lang="en-US" sz="1800" dirty="0"/>
              <a:t>Executed by customer + review results &amp; adapt</a:t>
            </a:r>
          </a:p>
          <a:p>
            <a:pPr lvl="1"/>
            <a:r>
              <a:rPr lang="en-US" sz="1800" dirty="0"/>
              <a:t>Activity Explorer to give insights &amp; monitor</a:t>
            </a:r>
          </a:p>
          <a:p>
            <a:r>
              <a:rPr lang="en-US" sz="1800" dirty="0"/>
              <a:t>Lessons learned and next steps</a:t>
            </a:r>
          </a:p>
        </p:txBody>
      </p:sp>
      <p:pic>
        <p:nvPicPr>
          <p:cNvPr id="8" name="Picture Placeholder 7" descr="A picture containing outdoor, sky, road, cloud&#10;&#10;Description automatically generated">
            <a:extLst>
              <a:ext uri="{FF2B5EF4-FFF2-40B4-BE49-F238E27FC236}">
                <a16:creationId xmlns:a16="http://schemas.microsoft.com/office/drawing/2014/main" id="{5C632756-4D6B-14FA-FAFD-0918243679C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11118" r="11118"/>
          <a:stretch>
            <a:fillRect/>
          </a:stretch>
        </p:blipFill>
        <p:spPr>
          <a:xfrm>
            <a:off x="7048500" y="0"/>
            <a:ext cx="5342401" cy="6858000"/>
          </a:xfrm>
        </p:spPr>
      </p:pic>
    </p:spTree>
    <p:extLst>
      <p:ext uri="{BB962C8B-B14F-4D97-AF65-F5344CB8AC3E}">
        <p14:creationId xmlns:p14="http://schemas.microsoft.com/office/powerpoint/2010/main" val="2878625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7D41-2FC5-7586-A518-0CF627A1C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00" y="579525"/>
            <a:ext cx="10985200" cy="977813"/>
          </a:xfrm>
        </p:spPr>
        <p:txBody>
          <a:bodyPr/>
          <a:lstStyle/>
          <a:p>
            <a:r>
              <a:rPr lang="en-US"/>
              <a:t>Lessons Learned</a:t>
            </a:r>
            <a:endParaRPr lang="nl-NL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D471D94-06E8-C5D6-4338-7A5619AA54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9725938"/>
              </p:ext>
            </p:extLst>
          </p:nvPr>
        </p:nvGraphicFramePr>
        <p:xfrm>
          <a:off x="660700" y="1412193"/>
          <a:ext cx="10630152" cy="43354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92685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38F3A0F-2A22-4A46-A74A-2A0216C021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graphicEl>
                                              <a:dgm id="{B38F3A0F-2A22-4A46-A74A-2A0216C021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graphicEl>
                                              <a:dgm id="{B38F3A0F-2A22-4A46-A74A-2A0216C021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graphicEl>
                                              <a:dgm id="{B38F3A0F-2A22-4A46-A74A-2A0216C021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8FAB587-D71F-455D-A7FD-3A0BAA06D7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>
                                            <p:graphicEl>
                                              <a:dgm id="{F8FAB587-D71F-455D-A7FD-3A0BAA06D7A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>
                                            <p:graphicEl>
                                              <a:dgm id="{F8FAB587-D71F-455D-A7FD-3A0BAA06D7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graphicEl>
                                              <a:dgm id="{F8FAB587-D71F-455D-A7FD-3A0BAA06D7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1168A88-ADC5-476E-AA65-3E2E9ACE63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>
                                            <p:graphicEl>
                                              <a:dgm id="{81168A88-ADC5-476E-AA65-3E2E9ACE63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>
                                            <p:graphicEl>
                                              <a:dgm id="{81168A88-ADC5-476E-AA65-3E2E9ACE63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graphicEl>
                                              <a:dgm id="{81168A88-ADC5-476E-AA65-3E2E9ACE63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0A600E-92C1-40B2-8793-F613631D4BC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">
                                            <p:graphicEl>
                                              <a:dgm id="{E70A600E-92C1-40B2-8793-F613631D4BC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graphicEl>
                                              <a:dgm id="{E70A600E-92C1-40B2-8793-F613631D4BC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">
                                            <p:graphicEl>
                                              <a:dgm id="{E70A600E-92C1-40B2-8793-F613631D4BC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4E58840-2EEF-4F1E-A2AD-0BE3EBE96C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">
                                            <p:graphicEl>
                                              <a:dgm id="{D4E58840-2EEF-4F1E-A2AD-0BE3EBE96C5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">
                                            <p:graphicEl>
                                              <a:dgm id="{D4E58840-2EEF-4F1E-A2AD-0BE3EBE96C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">
                                            <p:graphicEl>
                                              <a:dgm id="{D4E58840-2EEF-4F1E-A2AD-0BE3EBE96C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F00C6B1-DEFE-4910-AD40-0F5FAF976F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>
                                            <p:graphicEl>
                                              <a:dgm id="{9F00C6B1-DEFE-4910-AD40-0F5FAF976F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graphicEl>
                                              <a:dgm id="{9F00C6B1-DEFE-4910-AD40-0F5FAF976F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graphicEl>
                                              <a:dgm id="{9F00C6B1-DEFE-4910-AD40-0F5FAF976F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2E2CE04-92AF-453D-8B93-056B76FD5F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">
                                            <p:graphicEl>
                                              <a:dgm id="{F2E2CE04-92AF-453D-8B93-056B76FD5F7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graphicEl>
                                              <a:dgm id="{F2E2CE04-92AF-453D-8B93-056B76FD5F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">
                                            <p:graphicEl>
                                              <a:dgm id="{F2E2CE04-92AF-453D-8B93-056B76FD5F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EE0AE58-5456-4D94-AC5B-10A059332C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">
                                            <p:graphicEl>
                                              <a:dgm id="{FEE0AE58-5456-4D94-AC5B-10A059332C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">
                                            <p:graphicEl>
                                              <a:dgm id="{FEE0AE58-5456-4D94-AC5B-10A059332C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">
                                            <p:graphicEl>
                                              <a:dgm id="{FEE0AE58-5456-4D94-AC5B-10A059332C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Dgm bld="one"/>
        </p:bldSub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wrapped presents on a wooden surface&#10;&#10;Description automatically generated with low confidence">
            <a:extLst>
              <a:ext uri="{FF2B5EF4-FFF2-40B4-BE49-F238E27FC236}">
                <a16:creationId xmlns:a16="http://schemas.microsoft.com/office/drawing/2014/main" id="{A3094DE1-24CE-8131-2D8F-F52D5060EB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51728" r="11478"/>
          <a:stretch/>
        </p:blipFill>
        <p:spPr>
          <a:xfrm>
            <a:off x="8341876" y="0"/>
            <a:ext cx="392046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BE0695-C735-8373-AF1C-5AAE68D94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’s n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E980C6-1C93-D33F-8521-E098EBA63E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210300" cy="4351338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9A218E3-AD69-10F0-74A9-E22A05F2DD13}"/>
              </a:ext>
            </a:extLst>
          </p:cNvPr>
          <p:cNvGraphicFramePr/>
          <p:nvPr/>
        </p:nvGraphicFramePr>
        <p:xfrm>
          <a:off x="622600" y="1290726"/>
          <a:ext cx="7844067" cy="48862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FAB44394-A425-F3DD-3957-067218B44DE2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5EB7D99-6B99-F096-9BE9-8B25486EE171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D152491-8CE3-322D-D724-EC6F9B3F05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23888" y="1013524"/>
              <a:ext cx="4601633" cy="483095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316EDE7-700A-1568-1029-6AF5DD44D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38215" y="995459"/>
              <a:ext cx="4773251" cy="4849016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5779B35-3FDF-C0ED-5BE4-3D7B469F8F10}"/>
              </a:ext>
            </a:extLst>
          </p:cNvPr>
          <p:cNvGrpSpPr/>
          <p:nvPr/>
        </p:nvGrpSpPr>
        <p:grpSpPr>
          <a:xfrm>
            <a:off x="0" y="-9033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2EF916B-2B7A-4E08-AD72-3F26DB0604B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8D2CED2-FD8F-E78A-CA38-3943F9B00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216221" y="106240"/>
              <a:ext cx="9200414" cy="6645519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397B424-A075-996A-7506-A9BC301FEBF9}"/>
              </a:ext>
            </a:extLst>
          </p:cNvPr>
          <p:cNvGrpSpPr/>
          <p:nvPr/>
        </p:nvGrpSpPr>
        <p:grpSpPr>
          <a:xfrm>
            <a:off x="70338" y="-103025"/>
            <a:ext cx="12192000" cy="6858000"/>
            <a:chOff x="0" y="0"/>
            <a:chExt cx="12192000" cy="685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657DAD4-878E-5623-E13E-198EB90988ED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018E791-6084-2D3F-E6E9-F4702D657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143369" y="571500"/>
              <a:ext cx="6410938" cy="536425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6AF3BE-FC1E-2A65-CFFB-9005707276AA}"/>
              </a:ext>
            </a:extLst>
          </p:cNvPr>
          <p:cNvGrpSpPr/>
          <p:nvPr/>
        </p:nvGrpSpPr>
        <p:grpSpPr>
          <a:xfrm>
            <a:off x="70338" y="-115274"/>
            <a:ext cx="12192000" cy="6858000"/>
            <a:chOff x="0" y="0"/>
            <a:chExt cx="1219200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3DDF60-68A1-1066-15DB-39C815F40EC9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18" name="Picture 2" descr="Sensitivity label scope options for Items that include Files, Emails, and Meetings.">
              <a:extLst>
                <a:ext uri="{FF2B5EF4-FFF2-40B4-BE49-F238E27FC236}">
                  <a16:creationId xmlns:a16="http://schemas.microsoft.com/office/drawing/2014/main" id="{6A2DC86F-A58F-F4AD-B5BF-48C0950CC8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800" y="776288"/>
              <a:ext cx="9296400" cy="530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0B5EDBF-9940-B5B2-C15D-CCE3CD6B6D92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45303E5-DC03-73D2-795E-CE7EF481F375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21" name="Picture 4">
              <a:extLst>
                <a:ext uri="{FF2B5EF4-FFF2-40B4-BE49-F238E27FC236}">
                  <a16:creationId xmlns:a16="http://schemas.microsoft.com/office/drawing/2014/main" id="{DDC0A00E-FA14-3593-B675-F9ED65B5B2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913" y="1689795"/>
              <a:ext cx="11650174" cy="34784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6C91AE5-B656-222C-EF68-CAECB6A7E37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858BB8-7114-54EB-F0C7-AE67AFE45709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24" name="Picture 2">
              <a:extLst>
                <a:ext uri="{FF2B5EF4-FFF2-40B4-BE49-F238E27FC236}">
                  <a16:creationId xmlns:a16="http://schemas.microsoft.com/office/drawing/2014/main" id="{1F9B7F16-5F55-D90F-CF60-8ED7CC0473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1431" y="1050680"/>
              <a:ext cx="9369138" cy="4756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7C66E1C-CFBC-C977-EF6C-EA8D406A4667}"/>
              </a:ext>
            </a:extLst>
          </p:cNvPr>
          <p:cNvGrpSpPr/>
          <p:nvPr/>
        </p:nvGrpSpPr>
        <p:grpSpPr>
          <a:xfrm>
            <a:off x="35169" y="-56029"/>
            <a:ext cx="12192000" cy="6858000"/>
            <a:chOff x="0" y="0"/>
            <a:chExt cx="12192000" cy="6858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D140158-FAC6-14DF-D6CD-058527492E7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77D319D-BE37-D548-CF33-E5D9B3F34BDD}"/>
                </a:ext>
              </a:extLst>
            </p:cNvPr>
            <p:cNvSpPr txBox="1"/>
            <p:nvPr/>
          </p:nvSpPr>
          <p:spPr>
            <a:xfrm>
              <a:off x="969015" y="3059668"/>
              <a:ext cx="390378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4800" b="1" cap="all" spc="80" dirty="0">
                  <a:solidFill>
                    <a:srgbClr val="000000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  <a:cs typeface="+mj-cs"/>
                </a:rPr>
                <a:t>AES128-ECB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BBE3347-45DB-49FD-AA91-5CB72AD9490D}"/>
                </a:ext>
              </a:extLst>
            </p:cNvPr>
            <p:cNvSpPr txBox="1"/>
            <p:nvPr/>
          </p:nvSpPr>
          <p:spPr>
            <a:xfrm>
              <a:off x="7587395" y="3059668"/>
              <a:ext cx="390378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4800" b="1" cap="all" spc="80" dirty="0">
                  <a:solidFill>
                    <a:srgbClr val="000000"/>
                  </a:solidFill>
                  <a:latin typeface="Roboto Condensed" panose="02000000000000000000" pitchFamily="2" charset="0"/>
                  <a:ea typeface="Roboto Condensed" panose="02000000000000000000" pitchFamily="2" charset="0"/>
                  <a:cs typeface="+mj-cs"/>
                </a:rPr>
                <a:t>AES256-CBC</a:t>
              </a:r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9A3EE2DA-1335-783B-7FB9-D022B4C573AF}"/>
                </a:ext>
              </a:extLst>
            </p:cNvPr>
            <p:cNvSpPr/>
            <p:nvPr/>
          </p:nvSpPr>
          <p:spPr>
            <a:xfrm>
              <a:off x="5106543" y="3197352"/>
              <a:ext cx="1767840" cy="463296"/>
            </a:xfrm>
            <a:prstGeom prst="rightArrow">
              <a:avLst/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22113652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3D857A47-C784-4825-8106-71CDB6559B8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graphicEl>
                                              <a:dgm id="{3D857A47-C784-4825-8106-71CDB6559B8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F918112-8599-4245-8F9D-066F39D214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graphicEl>
                                              <a:dgm id="{DF918112-8599-4245-8F9D-066F39D214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48537C9-5080-4F3F-8560-C03E07BCE8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>
                                            <p:graphicEl>
                                              <a:dgm id="{248537C9-5080-4F3F-8560-C03E07BCE8F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A8125EF5-F9CC-4C3D-8051-ECF1EFB590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">
                                            <p:graphicEl>
                                              <a:dgm id="{A8125EF5-F9CC-4C3D-8051-ECF1EFB5906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77BE4CED-2C9A-4E7F-82B9-60A89FCABB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">
                                            <p:graphicEl>
                                              <a:dgm id="{77BE4CED-2C9A-4E7F-82B9-60A89FCABB5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51446EEE-0E6F-41FC-9D53-ECE0C84FD6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6">
                                            <p:graphicEl>
                                              <a:dgm id="{51446EEE-0E6F-41FC-9D53-ECE0C84FD6A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Dgm bld="one"/>
        </p:bldSub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Orange CRM FAQ | Frequenly Asked Qustions">
            <a:extLst>
              <a:ext uri="{FF2B5EF4-FFF2-40B4-BE49-F238E27FC236}">
                <a16:creationId xmlns:a16="http://schemas.microsoft.com/office/drawing/2014/main" id="{EAB86D54-8327-4C2D-A2EB-6E04D09FB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1338" y="1123950"/>
            <a:ext cx="6029325" cy="461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4120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3AA741D-95BA-0BE9-811D-DAA9EF262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00" y="579525"/>
            <a:ext cx="6400500" cy="965113"/>
          </a:xfrm>
        </p:spPr>
        <p:txBody>
          <a:bodyPr/>
          <a:lstStyle/>
          <a:p>
            <a:r>
              <a:rPr lang="en-US"/>
              <a:t>Ques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C99135-7583-2EC8-A6D0-3A2524BB7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557338"/>
            <a:ext cx="6400500" cy="3909942"/>
          </a:xfrm>
        </p:spPr>
        <p:txBody>
          <a:bodyPr anchor="ctr"/>
          <a:lstStyle/>
          <a:p>
            <a:pPr>
              <a:lnSpc>
                <a:spcPct val="200000"/>
              </a:lnSpc>
            </a:pPr>
            <a:r>
              <a:rPr lang="en-US" sz="2400"/>
              <a:t>Who has heard about Labeling?</a:t>
            </a:r>
          </a:p>
          <a:p>
            <a:pPr>
              <a:lnSpc>
                <a:spcPct val="200000"/>
              </a:lnSpc>
            </a:pPr>
            <a:r>
              <a:rPr lang="en-US" sz="2400"/>
              <a:t>Who is using them? </a:t>
            </a:r>
          </a:p>
          <a:p>
            <a:pPr>
              <a:lnSpc>
                <a:spcPct val="200000"/>
              </a:lnSpc>
            </a:pPr>
            <a:r>
              <a:rPr lang="en-US" sz="2400"/>
              <a:t>Who has implemented them?</a:t>
            </a:r>
          </a:p>
          <a:p>
            <a:endParaRPr lang="en-US"/>
          </a:p>
        </p:txBody>
      </p:sp>
      <p:pic>
        <p:nvPicPr>
          <p:cNvPr id="3" name="Picture 2" descr="Close-up of raised hands at office training with speaker out of focus in background">
            <a:extLst>
              <a:ext uri="{FF2B5EF4-FFF2-40B4-BE49-F238E27FC236}">
                <a16:creationId xmlns:a16="http://schemas.microsoft.com/office/drawing/2014/main" id="{6AEB16DA-747D-F49D-C87A-698EB9692E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1" t="-1014" r="7032" b="1014"/>
          <a:stretch/>
        </p:blipFill>
        <p:spPr>
          <a:xfrm>
            <a:off x="7048500" y="-57150"/>
            <a:ext cx="7073662" cy="697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5646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8" descr="Cut diamond">
            <a:extLst>
              <a:ext uri="{FF2B5EF4-FFF2-40B4-BE49-F238E27FC236}">
                <a16:creationId xmlns:a16="http://schemas.microsoft.com/office/drawing/2014/main" id="{6DED21B6-221D-42BF-B180-088158D34B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228" r="16316"/>
          <a:stretch/>
        </p:blipFill>
        <p:spPr>
          <a:xfrm>
            <a:off x="7065662" y="-359955"/>
            <a:ext cx="5126338" cy="7697022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6BD051E-82B7-47D2-8EF8-320D329FC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89" y="583101"/>
            <a:ext cx="6406373" cy="974238"/>
          </a:xfrm>
        </p:spPr>
        <p:txBody>
          <a:bodyPr>
            <a:normAutofit/>
          </a:bodyPr>
          <a:lstStyle/>
          <a:p>
            <a:r>
              <a:rPr lang="en-US" sz="3200" spc="-30">
                <a:solidFill>
                  <a:schemeClr val="tx1"/>
                </a:solidFill>
              </a:rPr>
              <a:t>Protecting Your Crown Jewels</a:t>
            </a:r>
            <a:r>
              <a:rPr lang="en-US" sz="2800" spc="-30">
                <a:solidFill>
                  <a:schemeClr val="tx1"/>
                </a:solidFill>
              </a:rPr>
              <a:t> </a:t>
            </a:r>
            <a:r>
              <a:rPr lang="en-US" sz="2800" i="1" spc="-30">
                <a:solidFill>
                  <a:schemeClr val="tx1"/>
                </a:solidFill>
              </a:rPr>
              <a:t>Data Visibility and Control</a:t>
            </a:r>
            <a:endParaRPr lang="en-US" sz="3200" i="1" spc="-3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9412E24-C175-0D1C-5BC3-CA7758A71B88}"/>
              </a:ext>
            </a:extLst>
          </p:cNvPr>
          <p:cNvGrpSpPr/>
          <p:nvPr/>
        </p:nvGrpSpPr>
        <p:grpSpPr>
          <a:xfrm>
            <a:off x="642135" y="3562145"/>
            <a:ext cx="6034436" cy="707886"/>
            <a:chOff x="642135" y="3562145"/>
            <a:chExt cx="6034436" cy="707886"/>
          </a:xfrm>
        </p:grpSpPr>
        <p:sp>
          <p:nvSpPr>
            <p:cNvPr id="22" name="arrow_21" title="Icon of a diamond shape around a right angled arrow pointing to the right">
              <a:extLst>
                <a:ext uri="{FF2B5EF4-FFF2-40B4-BE49-F238E27FC236}">
                  <a16:creationId xmlns:a16="http://schemas.microsoft.com/office/drawing/2014/main" id="{93EDBBBE-8B9B-483C-A1B7-EFF4C9B938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2135" y="3574365"/>
              <a:ext cx="650890" cy="648000"/>
            </a:xfrm>
            <a:custGeom>
              <a:avLst/>
              <a:gdLst>
                <a:gd name="T0" fmla="*/ 68 w 225"/>
                <a:gd name="T1" fmla="*/ 180 h 224"/>
                <a:gd name="T2" fmla="*/ 0 w 225"/>
                <a:gd name="T3" fmla="*/ 112 h 224"/>
                <a:gd name="T4" fmla="*/ 112 w 225"/>
                <a:gd name="T5" fmla="*/ 0 h 224"/>
                <a:gd name="T6" fmla="*/ 225 w 225"/>
                <a:gd name="T7" fmla="*/ 112 h 224"/>
                <a:gd name="T8" fmla="*/ 112 w 225"/>
                <a:gd name="T9" fmla="*/ 224 h 224"/>
                <a:gd name="T10" fmla="*/ 68 w 225"/>
                <a:gd name="T11" fmla="*/ 180 h 224"/>
                <a:gd name="T12" fmla="*/ 68 w 225"/>
                <a:gd name="T13" fmla="*/ 112 h 224"/>
                <a:gd name="T14" fmla="*/ 164 w 225"/>
                <a:gd name="T15" fmla="*/ 112 h 224"/>
                <a:gd name="T16" fmla="*/ 122 w 225"/>
                <a:gd name="T17" fmla="*/ 154 h 224"/>
                <a:gd name="T18" fmla="*/ 164 w 225"/>
                <a:gd name="T19" fmla="*/ 112 h 224"/>
                <a:gd name="T20" fmla="*/ 122 w 225"/>
                <a:gd name="T21" fmla="*/ 7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224">
                  <a:moveTo>
                    <a:pt x="68" y="180"/>
                  </a:moveTo>
                  <a:lnTo>
                    <a:pt x="0" y="112"/>
                  </a:lnTo>
                  <a:lnTo>
                    <a:pt x="112" y="0"/>
                  </a:lnTo>
                  <a:lnTo>
                    <a:pt x="225" y="112"/>
                  </a:lnTo>
                  <a:lnTo>
                    <a:pt x="112" y="224"/>
                  </a:lnTo>
                  <a:lnTo>
                    <a:pt x="68" y="180"/>
                  </a:lnTo>
                  <a:lnTo>
                    <a:pt x="68" y="112"/>
                  </a:lnTo>
                  <a:lnTo>
                    <a:pt x="164" y="112"/>
                  </a:lnTo>
                  <a:moveTo>
                    <a:pt x="122" y="154"/>
                  </a:moveTo>
                  <a:lnTo>
                    <a:pt x="164" y="112"/>
                  </a:lnTo>
                  <a:lnTo>
                    <a:pt x="122" y="70"/>
                  </a:lnTo>
                </a:path>
              </a:pathLst>
            </a:custGeom>
            <a:noFill/>
            <a:ln w="25400" cap="flat">
              <a:solidFill>
                <a:srgbClr val="FF934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50D9154-EDC9-48B1-B2B2-FEE9AF53CB4D}"/>
                </a:ext>
              </a:extLst>
            </p:cNvPr>
            <p:cNvSpPr/>
            <p:nvPr/>
          </p:nvSpPr>
          <p:spPr>
            <a:xfrm>
              <a:off x="1350377" y="3562145"/>
              <a:ext cx="5326194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914400">
                <a:defRPr/>
              </a:pPr>
              <a:r>
                <a:rPr lang="en-US" sz="2000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Do you have control of this data as it travels </a:t>
              </a:r>
              <a:r>
                <a:rPr lang="en-US" sz="2000" b="1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inside</a:t>
              </a:r>
              <a:r>
                <a:rPr lang="en-US" sz="2000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 and </a:t>
              </a:r>
              <a:r>
                <a:rPr lang="en-US" sz="2000" b="1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outside</a:t>
              </a:r>
              <a:r>
                <a:rPr lang="en-US" sz="2000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 of your organization?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5C53DEF-241E-81E3-5A29-DC66A293FF03}"/>
              </a:ext>
            </a:extLst>
          </p:cNvPr>
          <p:cNvGrpSpPr/>
          <p:nvPr/>
        </p:nvGrpSpPr>
        <p:grpSpPr>
          <a:xfrm>
            <a:off x="644242" y="4799908"/>
            <a:ext cx="6090387" cy="707886"/>
            <a:chOff x="644242" y="4799908"/>
            <a:chExt cx="6090387" cy="707886"/>
          </a:xfrm>
        </p:grpSpPr>
        <p:sp>
          <p:nvSpPr>
            <p:cNvPr id="23" name="Move_E7C2" descr="Icon of four arrows pointing away from eachother" title="Icon of four arrows pointing away from eachother">
              <a:extLst>
                <a:ext uri="{FF2B5EF4-FFF2-40B4-BE49-F238E27FC236}">
                  <a16:creationId xmlns:a16="http://schemas.microsoft.com/office/drawing/2014/main" id="{AD54E862-1412-4970-BD6D-F986FEC1308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4242" y="4823625"/>
              <a:ext cx="684000" cy="684169"/>
            </a:xfrm>
            <a:custGeom>
              <a:avLst/>
              <a:gdLst>
                <a:gd name="T0" fmla="*/ 736 w 3999"/>
                <a:gd name="T1" fmla="*/ 2737 h 4000"/>
                <a:gd name="T2" fmla="*/ 0 w 3999"/>
                <a:gd name="T3" fmla="*/ 2001 h 4000"/>
                <a:gd name="T4" fmla="*/ 736 w 3999"/>
                <a:gd name="T5" fmla="*/ 1264 h 4000"/>
                <a:gd name="T6" fmla="*/ 86 w 3999"/>
                <a:gd name="T7" fmla="*/ 2001 h 4000"/>
                <a:gd name="T8" fmla="*/ 1264 w 3999"/>
                <a:gd name="T9" fmla="*/ 2001 h 4000"/>
                <a:gd name="T10" fmla="*/ 1264 w 3999"/>
                <a:gd name="T11" fmla="*/ 3265 h 4000"/>
                <a:gd name="T12" fmla="*/ 2000 w 3999"/>
                <a:gd name="T13" fmla="*/ 4000 h 4000"/>
                <a:gd name="T14" fmla="*/ 2735 w 3999"/>
                <a:gd name="T15" fmla="*/ 3265 h 4000"/>
                <a:gd name="T16" fmla="*/ 2000 w 3999"/>
                <a:gd name="T17" fmla="*/ 3915 h 4000"/>
                <a:gd name="T18" fmla="*/ 2000 w 3999"/>
                <a:gd name="T19" fmla="*/ 2737 h 4000"/>
                <a:gd name="T20" fmla="*/ 3264 w 3999"/>
                <a:gd name="T21" fmla="*/ 2737 h 4000"/>
                <a:gd name="T22" fmla="*/ 3999 w 3999"/>
                <a:gd name="T23" fmla="*/ 2001 h 4000"/>
                <a:gd name="T24" fmla="*/ 3264 w 3999"/>
                <a:gd name="T25" fmla="*/ 1264 h 4000"/>
                <a:gd name="T26" fmla="*/ 3913 w 3999"/>
                <a:gd name="T27" fmla="*/ 2001 h 4000"/>
                <a:gd name="T28" fmla="*/ 2735 w 3999"/>
                <a:gd name="T29" fmla="*/ 2001 h 4000"/>
                <a:gd name="T30" fmla="*/ 2735 w 3999"/>
                <a:gd name="T31" fmla="*/ 736 h 4000"/>
                <a:gd name="T32" fmla="*/ 2000 w 3999"/>
                <a:gd name="T33" fmla="*/ 0 h 4000"/>
                <a:gd name="T34" fmla="*/ 1264 w 3999"/>
                <a:gd name="T35" fmla="*/ 736 h 4000"/>
                <a:gd name="T36" fmla="*/ 2000 w 3999"/>
                <a:gd name="T37" fmla="*/ 86 h 4000"/>
                <a:gd name="T38" fmla="*/ 2000 w 3999"/>
                <a:gd name="T39" fmla="*/ 1264 h 4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99" h="4000">
                  <a:moveTo>
                    <a:pt x="736" y="2737"/>
                  </a:moveTo>
                  <a:lnTo>
                    <a:pt x="0" y="2001"/>
                  </a:lnTo>
                  <a:lnTo>
                    <a:pt x="736" y="1264"/>
                  </a:lnTo>
                  <a:moveTo>
                    <a:pt x="86" y="2001"/>
                  </a:moveTo>
                  <a:lnTo>
                    <a:pt x="1264" y="2001"/>
                  </a:lnTo>
                  <a:moveTo>
                    <a:pt x="1264" y="3265"/>
                  </a:moveTo>
                  <a:lnTo>
                    <a:pt x="2000" y="4000"/>
                  </a:lnTo>
                  <a:lnTo>
                    <a:pt x="2735" y="3265"/>
                  </a:lnTo>
                  <a:moveTo>
                    <a:pt x="2000" y="3915"/>
                  </a:moveTo>
                  <a:lnTo>
                    <a:pt x="2000" y="2737"/>
                  </a:lnTo>
                  <a:moveTo>
                    <a:pt x="3264" y="2737"/>
                  </a:moveTo>
                  <a:lnTo>
                    <a:pt x="3999" y="2001"/>
                  </a:lnTo>
                  <a:lnTo>
                    <a:pt x="3264" y="1264"/>
                  </a:lnTo>
                  <a:moveTo>
                    <a:pt x="3913" y="2001"/>
                  </a:moveTo>
                  <a:lnTo>
                    <a:pt x="2735" y="2001"/>
                  </a:lnTo>
                  <a:moveTo>
                    <a:pt x="2735" y="736"/>
                  </a:moveTo>
                  <a:lnTo>
                    <a:pt x="2000" y="0"/>
                  </a:lnTo>
                  <a:lnTo>
                    <a:pt x="1264" y="736"/>
                  </a:lnTo>
                  <a:moveTo>
                    <a:pt x="2000" y="86"/>
                  </a:moveTo>
                  <a:lnTo>
                    <a:pt x="2000" y="1264"/>
                  </a:lnTo>
                </a:path>
              </a:pathLst>
            </a:custGeom>
            <a:noFill/>
            <a:ln w="25400" cap="sq">
              <a:solidFill>
                <a:srgbClr val="FF934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C0D10B6-DFC1-49E8-9E3F-06E8EA7B0B4B}"/>
                </a:ext>
              </a:extLst>
            </p:cNvPr>
            <p:cNvSpPr/>
            <p:nvPr/>
          </p:nvSpPr>
          <p:spPr>
            <a:xfrm>
              <a:off x="1350377" y="4799908"/>
              <a:ext cx="5384252" cy="707886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defTabSz="914400">
                <a:defRPr/>
              </a:pPr>
              <a:r>
                <a:rPr lang="en-US" sz="2000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Are you using (multiple) </a:t>
              </a:r>
              <a:r>
                <a:rPr lang="en-US" sz="2000" b="1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solutions</a:t>
              </a:r>
              <a:r>
                <a:rPr lang="en-US" sz="2000" dirty="0">
                  <a:solidFill>
                    <a:srgbClr val="000000"/>
                  </a:solidFill>
                  <a:latin typeface="+mj-lt"/>
                  <a:cs typeface="Segoe UI" panose="020B0502040204020203" pitchFamily="34" charset="0"/>
                </a:rPr>
                <a:t> to classify, label, and protect this data? 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A16CF78-3A34-7CFA-BC11-70CDF9F1E695}"/>
              </a:ext>
            </a:extLst>
          </p:cNvPr>
          <p:cNvGrpSpPr/>
          <p:nvPr/>
        </p:nvGrpSpPr>
        <p:grpSpPr>
          <a:xfrm>
            <a:off x="634248" y="2016605"/>
            <a:ext cx="6276506" cy="1015663"/>
            <a:chOff x="634248" y="2016605"/>
            <a:chExt cx="6276506" cy="1015663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B6772D9-200C-4A4A-8D09-55C1003FF61C}"/>
                </a:ext>
              </a:extLst>
            </p:cNvPr>
            <p:cNvSpPr/>
            <p:nvPr/>
          </p:nvSpPr>
          <p:spPr>
            <a:xfrm>
              <a:off x="1345209" y="2016605"/>
              <a:ext cx="5565545" cy="1015663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"/>
                </a:rPr>
                <a:t>Do you know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"/>
                </a:rPr>
                <a:t>where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"/>
                </a:rPr>
                <a:t> your business critical and sensitive data resides and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"/>
                </a:rPr>
                <a:t>what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"/>
                </a:rPr>
                <a:t> is being done with it? (“Crown Jewels</a:t>
              </a:r>
              <a:r>
                <a:rPr lang="en-US" sz="2000" dirty="0">
                  <a:solidFill>
                    <a:srgbClr val="000000"/>
                  </a:solidFill>
                  <a:latin typeface="+mj-lt"/>
                  <a:cs typeface="Segoe UI"/>
                </a:rPr>
                <a:t>”)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Segoe UI"/>
              </a:endParaRPr>
            </a:p>
          </p:txBody>
        </p:sp>
        <p:pic>
          <p:nvPicPr>
            <p:cNvPr id="10" name="Graphic 9" descr="Diamond outline">
              <a:extLst>
                <a:ext uri="{FF2B5EF4-FFF2-40B4-BE49-F238E27FC236}">
                  <a16:creationId xmlns:a16="http://schemas.microsoft.com/office/drawing/2014/main" id="{6EAF1567-46CE-470A-9E09-F980D4C0B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4248" y="2221068"/>
              <a:ext cx="701629" cy="7016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71843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56289-2F8C-46ED-8EF5-AEF0B181A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08" y="591993"/>
            <a:ext cx="6388291" cy="511058"/>
          </a:xfrm>
        </p:spPr>
        <p:txBody>
          <a:bodyPr/>
          <a:lstStyle/>
          <a:p>
            <a:r>
              <a:rPr lang="en-US" sz="3200" spc="-30">
                <a:solidFill>
                  <a:schemeClr val="tx1"/>
                </a:solidFill>
              </a:rPr>
              <a:t>The risks of dark data</a:t>
            </a:r>
            <a:endParaRPr lang="en-US" sz="3200" spc="-3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4" name="Picture 3" descr="An iceberg in the water&#10;&#10;Description automatically generated with medium confidence">
            <a:extLst>
              <a:ext uri="{FF2B5EF4-FFF2-40B4-BE49-F238E27FC236}">
                <a16:creationId xmlns:a16="http://schemas.microsoft.com/office/drawing/2014/main" id="{0F98A9E0-1781-1187-2A89-B816817199F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30844" b="10291"/>
          <a:stretch/>
        </p:blipFill>
        <p:spPr>
          <a:xfrm>
            <a:off x="1687816" y="2878207"/>
            <a:ext cx="4296754" cy="338779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37B5916-4CEC-7ED6-BE32-88E7C8CF757C}"/>
              </a:ext>
            </a:extLst>
          </p:cNvPr>
          <p:cNvSpPr txBox="1"/>
          <p:nvPr/>
        </p:nvSpPr>
        <p:spPr>
          <a:xfrm>
            <a:off x="6757640" y="1494963"/>
            <a:ext cx="4911846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/>
              <a:t>15% Critical Data, visible, structur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A8F288-F402-175D-F7DD-99073BC6FA7D}"/>
              </a:ext>
            </a:extLst>
          </p:cNvPr>
          <p:cNvSpPr txBox="1"/>
          <p:nvPr/>
        </p:nvSpPr>
        <p:spPr>
          <a:xfrm>
            <a:off x="6757639" y="3417446"/>
            <a:ext cx="491184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/>
              <a:t>20% Redundant, Obsolete and Triv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498BE2-01E1-8AD8-3629-6755543A1782}"/>
              </a:ext>
            </a:extLst>
          </p:cNvPr>
          <p:cNvSpPr txBox="1"/>
          <p:nvPr/>
        </p:nvSpPr>
        <p:spPr>
          <a:xfrm>
            <a:off x="6757639" y="5270232"/>
            <a:ext cx="4911847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/>
              <a:t>65% Dark Data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E3CED11-AECF-E032-FEE1-3035A8DD7472}"/>
              </a:ext>
            </a:extLst>
          </p:cNvPr>
          <p:cNvCxnSpPr/>
          <p:nvPr/>
        </p:nvCxnSpPr>
        <p:spPr>
          <a:xfrm>
            <a:off x="6028982" y="2878208"/>
            <a:ext cx="6163018" cy="0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n iceberg in the water&#10;&#10;Description automatically generated with medium confidence">
            <a:extLst>
              <a:ext uri="{FF2B5EF4-FFF2-40B4-BE49-F238E27FC236}">
                <a16:creationId xmlns:a16="http://schemas.microsoft.com/office/drawing/2014/main" id="{9CE7DAB9-6506-5505-A6F4-234C3213F3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b="69661"/>
          <a:stretch/>
        </p:blipFill>
        <p:spPr>
          <a:xfrm>
            <a:off x="1688686" y="1132079"/>
            <a:ext cx="4295884" cy="1746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9273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56289-2F8C-46ED-8EF5-AEF0B181A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08" y="591993"/>
            <a:ext cx="6388291" cy="511058"/>
          </a:xfrm>
        </p:spPr>
        <p:txBody>
          <a:bodyPr/>
          <a:lstStyle/>
          <a:p>
            <a:r>
              <a:rPr lang="en-US" sz="3200" spc="-30">
                <a:solidFill>
                  <a:schemeClr val="tx1"/>
                </a:solidFill>
              </a:rPr>
              <a:t>The risks of dark data</a:t>
            </a:r>
            <a:endParaRPr lang="en-US" sz="3200" spc="-3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43757A8-BD79-C077-4156-51A4BADD61CA}"/>
              </a:ext>
            </a:extLst>
          </p:cNvPr>
          <p:cNvGrpSpPr/>
          <p:nvPr/>
        </p:nvGrpSpPr>
        <p:grpSpPr>
          <a:xfrm>
            <a:off x="739010" y="3941533"/>
            <a:ext cx="6110588" cy="1169551"/>
            <a:chOff x="739010" y="3997288"/>
            <a:chExt cx="6110588" cy="1169551"/>
          </a:xfrm>
        </p:grpSpPr>
        <p:sp>
          <p:nvSpPr>
            <p:cNvPr id="26" name="hand_4" title="Icon of a hand giving a thumbs-down">
              <a:extLst>
                <a:ext uri="{FF2B5EF4-FFF2-40B4-BE49-F238E27FC236}">
                  <a16:creationId xmlns:a16="http://schemas.microsoft.com/office/drawing/2014/main" id="{00619250-3C53-425C-9EC4-A7393D91FEA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9010" y="4347256"/>
              <a:ext cx="540000" cy="469615"/>
            </a:xfrm>
            <a:custGeom>
              <a:avLst/>
              <a:gdLst>
                <a:gd name="T0" fmla="*/ 323 w 323"/>
                <a:gd name="T1" fmla="*/ 84 h 282"/>
                <a:gd name="T2" fmla="*/ 323 w 323"/>
                <a:gd name="T3" fmla="*/ 23 h 282"/>
                <a:gd name="T4" fmla="*/ 263 w 323"/>
                <a:gd name="T5" fmla="*/ 23 h 282"/>
                <a:gd name="T6" fmla="*/ 227 w 323"/>
                <a:gd name="T7" fmla="*/ 19 h 282"/>
                <a:gd name="T8" fmla="*/ 175 w 323"/>
                <a:gd name="T9" fmla="*/ 0 h 282"/>
                <a:gd name="T10" fmla="*/ 73 w 323"/>
                <a:gd name="T11" fmla="*/ 0 h 282"/>
                <a:gd name="T12" fmla="*/ 57 w 323"/>
                <a:gd name="T13" fmla="*/ 1 h 282"/>
                <a:gd name="T14" fmla="*/ 48 w 323"/>
                <a:gd name="T15" fmla="*/ 11 h 282"/>
                <a:gd name="T16" fmla="*/ 3 w 323"/>
                <a:gd name="T17" fmla="*/ 141 h 282"/>
                <a:gd name="T18" fmla="*/ 7 w 323"/>
                <a:gd name="T19" fmla="*/ 165 h 282"/>
                <a:gd name="T20" fmla="*/ 21 w 323"/>
                <a:gd name="T21" fmla="*/ 173 h 282"/>
                <a:gd name="T22" fmla="*/ 109 w 323"/>
                <a:gd name="T23" fmla="*/ 173 h 282"/>
                <a:gd name="T24" fmla="*/ 105 w 323"/>
                <a:gd name="T25" fmla="*/ 203 h 282"/>
                <a:gd name="T26" fmla="*/ 89 w 323"/>
                <a:gd name="T27" fmla="*/ 242 h 282"/>
                <a:gd name="T28" fmla="*/ 95 w 323"/>
                <a:gd name="T29" fmla="*/ 277 h 282"/>
                <a:gd name="T30" fmla="*/ 115 w 323"/>
                <a:gd name="T31" fmla="*/ 274 h 282"/>
                <a:gd name="T32" fmla="*/ 221 w 323"/>
                <a:gd name="T33" fmla="*/ 168 h 282"/>
                <a:gd name="T34" fmla="*/ 245 w 323"/>
                <a:gd name="T35" fmla="*/ 153 h 282"/>
                <a:gd name="T36" fmla="*/ 323 w 323"/>
                <a:gd name="T37" fmla="*/ 151 h 282"/>
                <a:gd name="T38" fmla="*/ 323 w 323"/>
                <a:gd name="T39" fmla="*/ 8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3" h="282">
                  <a:moveTo>
                    <a:pt x="323" y="84"/>
                  </a:moveTo>
                  <a:cubicBezTo>
                    <a:pt x="323" y="23"/>
                    <a:pt x="323" y="23"/>
                    <a:pt x="323" y="23"/>
                  </a:cubicBezTo>
                  <a:cubicBezTo>
                    <a:pt x="263" y="23"/>
                    <a:pt x="263" y="23"/>
                    <a:pt x="263" y="23"/>
                  </a:cubicBezTo>
                  <a:cubicBezTo>
                    <a:pt x="263" y="23"/>
                    <a:pt x="239" y="22"/>
                    <a:pt x="227" y="19"/>
                  </a:cubicBezTo>
                  <a:cubicBezTo>
                    <a:pt x="216" y="16"/>
                    <a:pt x="194" y="0"/>
                    <a:pt x="175" y="0"/>
                  </a:cubicBezTo>
                  <a:cubicBezTo>
                    <a:pt x="156" y="0"/>
                    <a:pt x="73" y="0"/>
                    <a:pt x="73" y="0"/>
                  </a:cubicBezTo>
                  <a:cubicBezTo>
                    <a:pt x="73" y="0"/>
                    <a:pt x="62" y="0"/>
                    <a:pt x="57" y="1"/>
                  </a:cubicBezTo>
                  <a:cubicBezTo>
                    <a:pt x="50" y="3"/>
                    <a:pt x="48" y="11"/>
                    <a:pt x="48" y="1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3" y="141"/>
                    <a:pt x="0" y="158"/>
                    <a:pt x="7" y="165"/>
                  </a:cubicBezTo>
                  <a:cubicBezTo>
                    <a:pt x="13" y="172"/>
                    <a:pt x="21" y="173"/>
                    <a:pt x="21" y="173"/>
                  </a:cubicBezTo>
                  <a:cubicBezTo>
                    <a:pt x="109" y="173"/>
                    <a:pt x="109" y="173"/>
                    <a:pt x="109" y="173"/>
                  </a:cubicBezTo>
                  <a:cubicBezTo>
                    <a:pt x="109" y="173"/>
                    <a:pt x="110" y="193"/>
                    <a:pt x="105" y="203"/>
                  </a:cubicBezTo>
                  <a:cubicBezTo>
                    <a:pt x="101" y="213"/>
                    <a:pt x="91" y="232"/>
                    <a:pt x="89" y="242"/>
                  </a:cubicBezTo>
                  <a:cubicBezTo>
                    <a:pt x="88" y="251"/>
                    <a:pt x="84" y="272"/>
                    <a:pt x="95" y="277"/>
                  </a:cubicBezTo>
                  <a:cubicBezTo>
                    <a:pt x="106" y="282"/>
                    <a:pt x="115" y="274"/>
                    <a:pt x="115" y="274"/>
                  </a:cubicBezTo>
                  <a:cubicBezTo>
                    <a:pt x="221" y="168"/>
                    <a:pt x="221" y="168"/>
                    <a:pt x="221" y="168"/>
                  </a:cubicBezTo>
                  <a:cubicBezTo>
                    <a:pt x="221" y="168"/>
                    <a:pt x="232" y="156"/>
                    <a:pt x="245" y="153"/>
                  </a:cubicBezTo>
                  <a:cubicBezTo>
                    <a:pt x="259" y="151"/>
                    <a:pt x="323" y="151"/>
                    <a:pt x="323" y="151"/>
                  </a:cubicBezTo>
                  <a:lnTo>
                    <a:pt x="323" y="84"/>
                  </a:lnTo>
                  <a:close/>
                </a:path>
              </a:pathLst>
            </a:custGeom>
            <a:noFill/>
            <a:ln w="25400" cap="sq">
              <a:solidFill>
                <a:srgbClr val="FF934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D92BA22-827C-4283-8263-532D94BC0E81}"/>
                </a:ext>
              </a:extLst>
            </p:cNvPr>
            <p:cNvSpPr txBox="1"/>
            <p:nvPr/>
          </p:nvSpPr>
          <p:spPr>
            <a:xfrm>
              <a:off x="1371600" y="3997288"/>
              <a:ext cx="5477998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 Semilight" panose="020B0402040204020203" pitchFamily="34" charset="0"/>
                </a:rPr>
                <a:t>Reputational damag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 Light"/>
                </a:rPr>
                <a:t>Do you want to be the organization in the news?</a:t>
              </a: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 Light"/>
                </a:rPr>
                <a:t>How would you like to be remembered? 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1984B54-BDDD-F3E2-ECCB-CC7CF4E91EBA}"/>
              </a:ext>
            </a:extLst>
          </p:cNvPr>
          <p:cNvGrpSpPr/>
          <p:nvPr/>
        </p:nvGrpSpPr>
        <p:grpSpPr>
          <a:xfrm>
            <a:off x="739010" y="5276068"/>
            <a:ext cx="6110588" cy="815608"/>
            <a:chOff x="739010" y="5276068"/>
            <a:chExt cx="6110588" cy="815608"/>
          </a:xfrm>
        </p:grpSpPr>
        <p:sp>
          <p:nvSpPr>
            <p:cNvPr id="30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C45E6AF4-8336-4D06-AC87-AFD8F99B4EE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39010" y="5379653"/>
              <a:ext cx="540000" cy="569365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25400" cap="flat">
              <a:solidFill>
                <a:srgbClr val="FF934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066604B-40E9-4338-AF87-0C06820377C7}"/>
                </a:ext>
              </a:extLst>
            </p:cNvPr>
            <p:cNvSpPr txBox="1"/>
            <p:nvPr/>
          </p:nvSpPr>
          <p:spPr>
            <a:xfrm>
              <a:off x="1371600" y="5276068"/>
              <a:ext cx="5477998" cy="8156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 Semilight" panose="020B0402040204020203" pitchFamily="34" charset="0"/>
                </a:rPr>
                <a:t>Fin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Can be significant and are real.</a:t>
              </a: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F6A364C-F65C-B469-C6AD-F3B224E5C85E}"/>
              </a:ext>
            </a:extLst>
          </p:cNvPr>
          <p:cNvGrpSpPr/>
          <p:nvPr/>
        </p:nvGrpSpPr>
        <p:grpSpPr>
          <a:xfrm>
            <a:off x="739010" y="1107180"/>
            <a:ext cx="6104237" cy="1292662"/>
            <a:chOff x="739010" y="1107180"/>
            <a:chExt cx="6104237" cy="1292662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93524CE-AECA-4674-879F-960CA3B03785}"/>
                </a:ext>
              </a:extLst>
            </p:cNvPr>
            <p:cNvSpPr txBox="1"/>
            <p:nvPr/>
          </p:nvSpPr>
          <p:spPr>
            <a:xfrm>
              <a:off x="1371600" y="1107180"/>
              <a:ext cx="5471647" cy="12926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 lvl="0">
                <a:defRPr lang="nl-NL"/>
              </a:defPPr>
              <a:lvl1pPr>
                <a:defRPr sz="2400">
                  <a:solidFill>
                    <a:srgbClr val="000000"/>
                  </a:solidFill>
                  <a:latin typeface="+mj-lt"/>
                  <a:cs typeface="Segoe UI Semilight" panose="020B0402040204020203" pitchFamily="34" charset="0"/>
                </a:defRPr>
              </a:lvl1pPr>
            </a:lstStyle>
            <a:p>
              <a:r>
                <a:rPr lang="en-US"/>
                <a:t>Loss of trus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>
                  <a:cs typeface="Segoe UI Light"/>
                </a:rPr>
                <a:t>Do customers still want to work with you if you lose their trust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>
                  <a:cs typeface="Segoe UI Light"/>
                </a:rPr>
                <a:t>Compliance as a basic requirement to do business. </a:t>
              </a:r>
            </a:p>
          </p:txBody>
        </p:sp>
        <p:sp>
          <p:nvSpPr>
            <p:cNvPr id="18" name="people_3" title="Icon of a person surrounded by brackets">
              <a:extLst>
                <a:ext uri="{FF2B5EF4-FFF2-40B4-BE49-F238E27FC236}">
                  <a16:creationId xmlns:a16="http://schemas.microsoft.com/office/drawing/2014/main" id="{41823989-5D92-4C17-8790-D029CD6DD3F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39010" y="1481353"/>
              <a:ext cx="540000" cy="544317"/>
            </a:xfrm>
            <a:custGeom>
              <a:avLst/>
              <a:gdLst>
                <a:gd name="T0" fmla="*/ 346 w 346"/>
                <a:gd name="T1" fmla="*/ 265 h 348"/>
                <a:gd name="T2" fmla="*/ 346 w 346"/>
                <a:gd name="T3" fmla="*/ 348 h 348"/>
                <a:gd name="T4" fmla="*/ 263 w 346"/>
                <a:gd name="T5" fmla="*/ 348 h 348"/>
                <a:gd name="T6" fmla="*/ 346 w 346"/>
                <a:gd name="T7" fmla="*/ 83 h 348"/>
                <a:gd name="T8" fmla="*/ 346 w 346"/>
                <a:gd name="T9" fmla="*/ 0 h 348"/>
                <a:gd name="T10" fmla="*/ 263 w 346"/>
                <a:gd name="T11" fmla="*/ 0 h 348"/>
                <a:gd name="T12" fmla="*/ 83 w 346"/>
                <a:gd name="T13" fmla="*/ 0 h 348"/>
                <a:gd name="T14" fmla="*/ 0 w 346"/>
                <a:gd name="T15" fmla="*/ 0 h 348"/>
                <a:gd name="T16" fmla="*/ 0 w 346"/>
                <a:gd name="T17" fmla="*/ 83 h 348"/>
                <a:gd name="T18" fmla="*/ 0 w 346"/>
                <a:gd name="T19" fmla="*/ 265 h 348"/>
                <a:gd name="T20" fmla="*/ 0 w 346"/>
                <a:gd name="T21" fmla="*/ 348 h 348"/>
                <a:gd name="T22" fmla="*/ 83 w 346"/>
                <a:gd name="T23" fmla="*/ 348 h 348"/>
                <a:gd name="T24" fmla="*/ 173 w 346"/>
                <a:gd name="T25" fmla="*/ 184 h 348"/>
                <a:gd name="T26" fmla="*/ 229 w 346"/>
                <a:gd name="T27" fmla="*/ 129 h 348"/>
                <a:gd name="T28" fmla="*/ 173 w 346"/>
                <a:gd name="T29" fmla="*/ 73 h 348"/>
                <a:gd name="T30" fmla="*/ 117 w 346"/>
                <a:gd name="T31" fmla="*/ 129 h 348"/>
                <a:gd name="T32" fmla="*/ 173 w 346"/>
                <a:gd name="T33" fmla="*/ 184 h 348"/>
                <a:gd name="T34" fmla="*/ 262 w 346"/>
                <a:gd name="T35" fmla="*/ 275 h 348"/>
                <a:gd name="T36" fmla="*/ 172 w 346"/>
                <a:gd name="T37" fmla="*/ 184 h 348"/>
                <a:gd name="T38" fmla="*/ 82 w 346"/>
                <a:gd name="T39" fmla="*/ 275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6" h="348">
                  <a:moveTo>
                    <a:pt x="346" y="265"/>
                  </a:moveTo>
                  <a:cubicBezTo>
                    <a:pt x="346" y="348"/>
                    <a:pt x="346" y="348"/>
                    <a:pt x="346" y="348"/>
                  </a:cubicBezTo>
                  <a:cubicBezTo>
                    <a:pt x="263" y="348"/>
                    <a:pt x="263" y="348"/>
                    <a:pt x="263" y="348"/>
                  </a:cubicBezTo>
                  <a:moveTo>
                    <a:pt x="346" y="83"/>
                  </a:moveTo>
                  <a:cubicBezTo>
                    <a:pt x="346" y="0"/>
                    <a:pt x="346" y="0"/>
                    <a:pt x="346" y="0"/>
                  </a:cubicBezTo>
                  <a:cubicBezTo>
                    <a:pt x="263" y="0"/>
                    <a:pt x="263" y="0"/>
                    <a:pt x="263" y="0"/>
                  </a:cubicBezTo>
                  <a:moveTo>
                    <a:pt x="8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3"/>
                    <a:pt x="0" y="83"/>
                    <a:pt x="0" y="83"/>
                  </a:cubicBezTo>
                  <a:moveTo>
                    <a:pt x="0" y="265"/>
                  </a:moveTo>
                  <a:cubicBezTo>
                    <a:pt x="0" y="348"/>
                    <a:pt x="0" y="348"/>
                    <a:pt x="0" y="348"/>
                  </a:cubicBezTo>
                  <a:cubicBezTo>
                    <a:pt x="83" y="348"/>
                    <a:pt x="83" y="348"/>
                    <a:pt x="83" y="348"/>
                  </a:cubicBezTo>
                  <a:moveTo>
                    <a:pt x="173" y="184"/>
                  </a:moveTo>
                  <a:cubicBezTo>
                    <a:pt x="204" y="184"/>
                    <a:pt x="229" y="159"/>
                    <a:pt x="229" y="129"/>
                  </a:cubicBezTo>
                  <a:cubicBezTo>
                    <a:pt x="229" y="98"/>
                    <a:pt x="204" y="73"/>
                    <a:pt x="173" y="73"/>
                  </a:cubicBezTo>
                  <a:cubicBezTo>
                    <a:pt x="142" y="73"/>
                    <a:pt x="117" y="98"/>
                    <a:pt x="117" y="129"/>
                  </a:cubicBezTo>
                  <a:cubicBezTo>
                    <a:pt x="117" y="159"/>
                    <a:pt x="142" y="184"/>
                    <a:pt x="173" y="184"/>
                  </a:cubicBezTo>
                  <a:close/>
                  <a:moveTo>
                    <a:pt x="262" y="275"/>
                  </a:moveTo>
                  <a:cubicBezTo>
                    <a:pt x="262" y="225"/>
                    <a:pt x="222" y="184"/>
                    <a:pt x="172" y="184"/>
                  </a:cubicBezTo>
                  <a:cubicBezTo>
                    <a:pt x="122" y="184"/>
                    <a:pt x="82" y="225"/>
                    <a:pt x="82" y="275"/>
                  </a:cubicBezTo>
                </a:path>
              </a:pathLst>
            </a:custGeom>
            <a:noFill/>
            <a:ln w="25400" cap="sq">
              <a:solidFill>
                <a:srgbClr val="FF934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A37F07E-5FF4-2B1D-3EAC-EDB214FCA9A0}"/>
              </a:ext>
            </a:extLst>
          </p:cNvPr>
          <p:cNvGrpSpPr/>
          <p:nvPr/>
        </p:nvGrpSpPr>
        <p:grpSpPr>
          <a:xfrm>
            <a:off x="739010" y="2578635"/>
            <a:ext cx="6110588" cy="1292662"/>
            <a:chOff x="739010" y="2578635"/>
            <a:chExt cx="6110588" cy="129266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D0CA0EA-9A6F-4A14-9A09-5C8D53F9822A}"/>
                </a:ext>
              </a:extLst>
            </p:cNvPr>
            <p:cNvSpPr txBox="1"/>
            <p:nvPr/>
          </p:nvSpPr>
          <p:spPr>
            <a:xfrm>
              <a:off x="1371600" y="2578635"/>
              <a:ext cx="5477998" cy="12926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>
                  <a:solidFill>
                    <a:srgbClr val="000000"/>
                  </a:solidFill>
                  <a:latin typeface="+mj-lt"/>
                  <a:cs typeface="Segoe UI Semilight" panose="020B0402040204020203" pitchFamily="34" charset="0"/>
                </a:rPr>
                <a:t>Loss of intellectual proper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>
                  <a:solidFill>
                    <a:srgbClr val="000000"/>
                  </a:solidFill>
                  <a:latin typeface="+mj-lt"/>
                  <a:cs typeface="Segoe UI Light"/>
                </a:rPr>
                <a:t>What if your company jewels are lost or stolen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800">
                  <a:solidFill>
                    <a:srgbClr val="000000"/>
                  </a:solidFill>
                  <a:latin typeface="+mj-lt"/>
                  <a:cs typeface="Segoe UI Light"/>
                </a:rPr>
                <a:t>Unintended oversharing or malicious intent, is it happening in your organization?</a:t>
              </a:r>
            </a:p>
          </p:txBody>
        </p:sp>
        <p:pic>
          <p:nvPicPr>
            <p:cNvPr id="7" name="Graphic 6" descr="Diamond outline">
              <a:extLst>
                <a:ext uri="{FF2B5EF4-FFF2-40B4-BE49-F238E27FC236}">
                  <a16:creationId xmlns:a16="http://schemas.microsoft.com/office/drawing/2014/main" id="{8CC94122-3CAB-4580-8B24-D63DE063E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9010" y="2954966"/>
              <a:ext cx="540000" cy="540000"/>
            </a:xfrm>
            <a:prstGeom prst="rect">
              <a:avLst/>
            </a:prstGeom>
          </p:spPr>
        </p:pic>
      </p:grpSp>
      <p:pic>
        <p:nvPicPr>
          <p:cNvPr id="4" name="Picture 3" descr="An iceberg in the water&#10;&#10;Description automatically generated with medium confidence">
            <a:extLst>
              <a:ext uri="{FF2B5EF4-FFF2-40B4-BE49-F238E27FC236}">
                <a16:creationId xmlns:a16="http://schemas.microsoft.com/office/drawing/2014/main" id="{0F98A9E0-1781-1187-2A89-B816817199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7048500" y="0"/>
            <a:ext cx="5297486" cy="6858000"/>
          </a:xfrm>
          <a:prstGeom prst="rect">
            <a:avLst/>
          </a:prstGeom>
        </p:spPr>
      </p:pic>
      <p:sp>
        <p:nvSpPr>
          <p:cNvPr id="14" name="Flowchart: Manual Operation 13">
            <a:extLst>
              <a:ext uri="{FF2B5EF4-FFF2-40B4-BE49-F238E27FC236}">
                <a16:creationId xmlns:a16="http://schemas.microsoft.com/office/drawing/2014/main" id="{506E1929-4A19-948E-4121-84CBAF7393C8}"/>
              </a:ext>
            </a:extLst>
          </p:cNvPr>
          <p:cNvSpPr/>
          <p:nvPr/>
        </p:nvSpPr>
        <p:spPr>
          <a:xfrm>
            <a:off x="8152327" y="2137637"/>
            <a:ext cx="2668073" cy="419974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21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214 w 10000"/>
              <a:gd name="connsiteY2" fmla="*/ 10000 h 10000"/>
              <a:gd name="connsiteX3" fmla="*/ 3883 w 10000"/>
              <a:gd name="connsiteY3" fmla="*/ 9855 h 10000"/>
              <a:gd name="connsiteX4" fmla="*/ 0 w 10000"/>
              <a:gd name="connsiteY4" fmla="*/ 0 h 10000"/>
              <a:gd name="connsiteX0" fmla="*/ 0 w 10000"/>
              <a:gd name="connsiteY0" fmla="*/ 0 h 9855"/>
              <a:gd name="connsiteX1" fmla="*/ 10000 w 10000"/>
              <a:gd name="connsiteY1" fmla="*/ 0 h 9855"/>
              <a:gd name="connsiteX2" fmla="*/ 6124 w 10000"/>
              <a:gd name="connsiteY2" fmla="*/ 9847 h 9855"/>
              <a:gd name="connsiteX3" fmla="*/ 3883 w 10000"/>
              <a:gd name="connsiteY3" fmla="*/ 9855 h 9855"/>
              <a:gd name="connsiteX4" fmla="*/ 0 w 10000"/>
              <a:gd name="connsiteY4" fmla="*/ 0 h 9855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124 w 10000"/>
              <a:gd name="connsiteY2" fmla="*/ 9992 h 10000"/>
              <a:gd name="connsiteX3" fmla="*/ 4605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7"/>
              <a:gd name="connsiteX1" fmla="*/ 10000 w 10000"/>
              <a:gd name="connsiteY1" fmla="*/ 0 h 10007"/>
              <a:gd name="connsiteX2" fmla="*/ 5470 w 10000"/>
              <a:gd name="connsiteY2" fmla="*/ 10007 h 10007"/>
              <a:gd name="connsiteX3" fmla="*/ 4605 w 10000"/>
              <a:gd name="connsiteY3" fmla="*/ 10000 h 10007"/>
              <a:gd name="connsiteX4" fmla="*/ 0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0" y="0"/>
                </a:moveTo>
                <a:lnTo>
                  <a:pt x="10000" y="0"/>
                </a:lnTo>
                <a:lnTo>
                  <a:pt x="5470" y="10007"/>
                </a:lnTo>
                <a:lnTo>
                  <a:pt x="4605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FFFF00">
              <a:alpha val="42000"/>
            </a:srgbClr>
          </a:solidFill>
          <a:ln w="12700"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Submarine outline">
            <a:extLst>
              <a:ext uri="{FF2B5EF4-FFF2-40B4-BE49-F238E27FC236}">
                <a16:creationId xmlns:a16="http://schemas.microsoft.com/office/drawing/2014/main" id="{E62E5484-A8BA-0505-7528-EC5B849027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183257" y="5829015"/>
            <a:ext cx="1103086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676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33333E-6 L -0.04766 0.01597 C -0.05742 0.01944 -0.0724 0.02152 -0.08789 0.02152 C -0.1056 0.02152 -0.11992 0.01944 -0.12969 0.01597 L -0.17721 3.33333E-6 " pathEditMode="relative" rAng="0" ptsTypes="AAAAA">
                                      <p:cBhvr>
                                        <p:cTn id="36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867" y="10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0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A6EB3F-90EB-D701-8B69-627704380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387" y="587711"/>
            <a:ext cx="11027626" cy="1143000"/>
          </a:xfrm>
        </p:spPr>
        <p:txBody>
          <a:bodyPr anchor="t">
            <a:normAutofit/>
          </a:bodyPr>
          <a:lstStyle/>
          <a:p>
            <a:r>
              <a:rPr lang="en-US"/>
              <a:t>Information Protection &amp; Governance </a:t>
            </a:r>
            <a:endParaRPr lang="nl-NL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95666DF-E198-36F3-7F80-2826C16585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4720" y="1463028"/>
            <a:ext cx="7602482" cy="4933072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9587F-3CE2-D911-8DB4-FA2710E059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4798" y="1902772"/>
            <a:ext cx="3760419" cy="35443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99B3604-04E4-9018-D293-A583DECA01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8505" y="1902772"/>
            <a:ext cx="3816519" cy="3546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653C54-BEC7-A23F-84F6-E6E212F5699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38504" y="1902772"/>
            <a:ext cx="3816519" cy="35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0443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89895-2646-1210-8E50-5B8906DB3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 Explorer</a:t>
            </a:r>
            <a:endParaRPr lang="nl-N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AD8820-31A2-423D-4D18-AEAC27F5025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955"/>
          <a:stretch/>
        </p:blipFill>
        <p:spPr>
          <a:xfrm>
            <a:off x="623888" y="1379208"/>
            <a:ext cx="10842172" cy="33511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AB5955-AF12-2CC0-D48C-15319BF96F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539"/>
          <a:stretch/>
        </p:blipFill>
        <p:spPr>
          <a:xfrm>
            <a:off x="516374" y="1379208"/>
            <a:ext cx="11027626" cy="429393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EBD480-C41A-5EDE-8B48-ABFC1136F5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9716" y="1556781"/>
            <a:ext cx="10616344" cy="4400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4901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12FD47-EDA3-EF7C-B463-BF0E3FF6A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592225"/>
            <a:ext cx="11027626" cy="965113"/>
          </a:xfrm>
        </p:spPr>
        <p:txBody>
          <a:bodyPr/>
          <a:lstStyle/>
          <a:p>
            <a:r>
              <a:rPr lang="en-US"/>
              <a:t>Sensitive Information Type 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614AF1-6E13-3505-F412-EB56413A5D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748" y="1583504"/>
            <a:ext cx="6364070" cy="3744000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en-US" sz="1800" dirty="0"/>
              <a:t>Pattern based classifiers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Primary element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Supporting Element(s)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Proximity</a:t>
            </a:r>
          </a:p>
          <a:p>
            <a:pPr>
              <a:lnSpc>
                <a:spcPct val="200000"/>
              </a:lnSpc>
            </a:pPr>
            <a:r>
              <a:rPr lang="en-US" sz="1800" dirty="0"/>
              <a:t>Confidence levels defines how much supporting evidence is detected in proximity</a:t>
            </a:r>
          </a:p>
          <a:p>
            <a:pPr>
              <a:lnSpc>
                <a:spcPct val="200000"/>
              </a:lnSpc>
            </a:pPr>
            <a:r>
              <a:rPr lang="en-US" sz="1800" dirty="0"/>
              <a:t>Preconfigured by Microsoft or custom made</a:t>
            </a:r>
            <a:endParaRPr lang="nl-NL" sz="1800" dirty="0"/>
          </a:p>
          <a:p>
            <a:pPr>
              <a:lnSpc>
                <a:spcPct val="200000"/>
              </a:lnSpc>
            </a:pPr>
            <a:endParaRPr lang="en-US" sz="1800" dirty="0"/>
          </a:p>
        </p:txBody>
      </p:sp>
      <p:pic>
        <p:nvPicPr>
          <p:cNvPr id="11" name="Picture 10" descr="A red lock on a blue background&#10;&#10;Description automatically generated with low confidence">
            <a:extLst>
              <a:ext uri="{FF2B5EF4-FFF2-40B4-BE49-F238E27FC236}">
                <a16:creationId xmlns:a16="http://schemas.microsoft.com/office/drawing/2014/main" id="{C8E1D26F-E45D-ABB3-6512-DE5357B9202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48478"/>
          <a:stretch/>
        </p:blipFill>
        <p:spPr>
          <a:xfrm>
            <a:off x="7048500" y="0"/>
            <a:ext cx="71452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5494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uisstijl">
  <a:themeElements>
    <a:clrScheme name="Kleuren Ordina PP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58220"/>
      </a:accent1>
      <a:accent2>
        <a:srgbClr val="58595B"/>
      </a:accent2>
      <a:accent3>
        <a:srgbClr val="000000"/>
      </a:accent3>
      <a:accent4>
        <a:srgbClr val="007F91"/>
      </a:accent4>
      <a:accent5>
        <a:srgbClr val="3DA4BF"/>
      </a:accent5>
      <a:accent6>
        <a:srgbClr val="E1E1E1"/>
      </a:accent6>
      <a:hlink>
        <a:srgbClr val="000000"/>
      </a:hlink>
      <a:folHlink>
        <a:srgbClr val="000000"/>
      </a:folHlink>
    </a:clrScheme>
    <a:fontScheme name="Lettertypen Ordina PP">
      <a:majorFont>
        <a:latin typeface="Roboto Condensed Light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800" dirty="0" err="1" smtClean="0"/>
        </a:defPPr>
      </a:lstStyle>
    </a:txDef>
  </a:objectDefaults>
  <a:extraClrSchemeLst/>
  <a:custClrLst>
    <a:custClr name="Verbinding">
      <a:srgbClr val="F58220"/>
    </a:custClr>
    <a:custClr name="Betrouwbaar">
      <a:srgbClr val="58595B"/>
    </a:custClr>
    <a:custClr name="Voorloper">
      <a:srgbClr val="000000"/>
    </a:custClr>
    <a:custClr name="Ontdekking 100%">
      <a:srgbClr val="007F91"/>
    </a:custClr>
    <a:custClr name="Ontdekking 80%">
      <a:srgbClr val="3398A7"/>
    </a:custClr>
    <a:custClr name="Ontdekking 60%">
      <a:srgbClr val="66B2BD"/>
    </a:custClr>
    <a:custClr name="Ontdekking 40%">
      <a:srgbClr val="99CCD3"/>
    </a:custClr>
    <a:custClr name="Ontdekking 20%">
      <a:srgbClr val="CCE6E9"/>
    </a:custClr>
    <a:custClr name="Versnelling 100%">
      <a:srgbClr val="3DA4BF"/>
    </a:custClr>
    <a:custClr name="Versnelling 80%">
      <a:srgbClr val="64B6CC"/>
    </a:custClr>
    <a:custClr name="Versnelling 60%">
      <a:srgbClr val="8BC8D8"/>
    </a:custClr>
    <a:custClr name="Versnelling 40%">
      <a:srgbClr val="B1DBE6"/>
    </a:custClr>
    <a:custClr name="Versnelling 20%">
      <a:srgbClr val="D8EDF2"/>
    </a:custClr>
    <a:custClr name="Lichtgrijs">
      <a:srgbClr val="E1E1E1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Presentatie Ordina.potx" id="{5834629C-9223-43DD-BA21-4D9936661E8A}" vid="{4B6BF035-6719-4F93-8FF2-195FCAFED06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juid xmlns="http://www.joulesunlimited.com/juid"/>
</file>

<file path=customXml/item11.xml><?xml version="1.0" encoding="utf-8"?>
<juid xmlns="http://www.joulesunlimited.com/juid"/>
</file>

<file path=customXml/item12.xml><?xml version="1.0" encoding="utf-8"?>
<juid xmlns="http://www.joulesunlimited.com/juid"/>
</file>

<file path=customXml/item13.xml><?xml version="1.0" encoding="utf-8"?>
<juid xmlns="http://www.joulesunlimited.com/juid"/>
</file>

<file path=customXml/item14.xml><?xml version="1.0" encoding="utf-8"?>
<juid xmlns="http://www.joulesunlimited.com/juid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AF6D32DE88FD42B99FC7ED416674CA" ma:contentTypeVersion="8" ma:contentTypeDescription="Een nieuw document maken." ma:contentTypeScope="" ma:versionID="24ef4f24baac8941e127fa9051a69930">
  <xsd:schema xmlns:xsd="http://www.w3.org/2001/XMLSchema" xmlns:xs="http://www.w3.org/2001/XMLSchema" xmlns:p="http://schemas.microsoft.com/office/2006/metadata/properties" xmlns:ns2="f38a82ca-5df8-42ed-b296-ac404c732463" xmlns:ns3="e8296bf3-f471-4815-84f2-8651f38d6c33" targetNamespace="http://schemas.microsoft.com/office/2006/metadata/properties" ma:root="true" ma:fieldsID="f0f70d53c248fe9f25e27821bcd133ac" ns2:_="" ns3:_="">
    <xsd:import namespace="f38a82ca-5df8-42ed-b296-ac404c732463"/>
    <xsd:import namespace="e8296bf3-f471-4815-84f2-8651f38d6c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8a82ca-5df8-42ed-b296-ac404c7324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Afbeeldingtags" ma:readOnly="false" ma:fieldId="{5cf76f15-5ced-4ddc-b409-7134ff3c332f}" ma:taxonomyMulti="true" ma:sspId="7b10d8c7-6c08-4db2-9061-021ed679850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296bf3-f471-4815-84f2-8651f38d6c3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956af120-75bb-4788-86fd-fc9deaa24d46}" ma:internalName="TaxCatchAll" ma:showField="CatchAllData" ma:web="e8296bf3-f471-4815-84f2-8651f38d6c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8a82ca-5df8-42ed-b296-ac404c732463">
      <Terms xmlns="http://schemas.microsoft.com/office/infopath/2007/PartnerControls"/>
    </lcf76f155ced4ddcb4097134ff3c332f>
    <TaxCatchAll xmlns="e8296bf3-f471-4815-84f2-8651f38d6c33" xsi:nil="true"/>
  </documentManagement>
</p:properties>
</file>

<file path=customXml/item4.xml><?xml version="1.0" encoding="utf-8"?>
<juid xmlns="http://www.joulesunlimited.com/juid"/>
</file>

<file path=customXml/item5.xml><?xml version="1.0" encoding="utf-8"?>
<juid xmlns="http://www.joulesunlimited.com/juid"/>
</file>

<file path=customXml/item6.xml><?xml version="1.0" encoding="utf-8"?>
<juid xmlns="http://www.joulesunlimited.com/juid"/>
</file>

<file path=customXml/item7.xml><?xml version="1.0" encoding="utf-8"?>
<juid xmlns="http://www.joulesunlimited.com/juid"/>
</file>

<file path=customXml/item8.xml><?xml version="1.0" encoding="utf-8"?>
<juid xmlns="http://www.joulesunlimited.com/juid"/>
</file>

<file path=customXml/item9.xml><?xml version="1.0" encoding="utf-8"?>
<juid xmlns="http://www.joulesunlimited.com/juid"/>
</file>

<file path=customXml/itemProps1.xml><?xml version="1.0" encoding="utf-8"?>
<ds:datastoreItem xmlns:ds="http://schemas.openxmlformats.org/officeDocument/2006/customXml" ds:itemID="{76F3C337-76E7-4892-A0B3-0DF25521710E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0C06B836-1B4D-C54B-ACA9-CB80BAF4810E}">
  <ds:schemaRefs>
    <ds:schemaRef ds:uri="http://www.joulesunlimited.com/juid"/>
  </ds:schemaRefs>
</ds:datastoreItem>
</file>

<file path=customXml/itemProps11.xml><?xml version="1.0" encoding="utf-8"?>
<ds:datastoreItem xmlns:ds="http://schemas.openxmlformats.org/officeDocument/2006/customXml" ds:itemID="{7F0DBC77-E71E-3946-B016-4DEF83B4609B}">
  <ds:schemaRefs>
    <ds:schemaRef ds:uri="http://www.joulesunlimited.com/juid"/>
  </ds:schemaRefs>
</ds:datastoreItem>
</file>

<file path=customXml/itemProps12.xml><?xml version="1.0" encoding="utf-8"?>
<ds:datastoreItem xmlns:ds="http://schemas.openxmlformats.org/officeDocument/2006/customXml" ds:itemID="{491D02F2-3A87-4B17-9A38-2C6916B81D0A}">
  <ds:schemaRefs>
    <ds:schemaRef ds:uri="http://www.joulesunlimited.com/juid"/>
  </ds:schemaRefs>
</ds:datastoreItem>
</file>

<file path=customXml/itemProps13.xml><?xml version="1.0" encoding="utf-8"?>
<ds:datastoreItem xmlns:ds="http://schemas.openxmlformats.org/officeDocument/2006/customXml" ds:itemID="{B254486B-39B1-43A8-BF90-E3B7D0BE77DA}">
  <ds:schemaRefs>
    <ds:schemaRef ds:uri="http://www.joulesunlimited.com/juid"/>
  </ds:schemaRefs>
</ds:datastoreItem>
</file>

<file path=customXml/itemProps14.xml><?xml version="1.0" encoding="utf-8"?>
<ds:datastoreItem xmlns:ds="http://schemas.openxmlformats.org/officeDocument/2006/customXml" ds:itemID="{EF145F43-DA97-4E46-9278-A83BCC3C9AAD}">
  <ds:schemaRefs>
    <ds:schemaRef ds:uri="http://www.joulesunlimited.com/juid"/>
  </ds:schemaRefs>
</ds:datastoreItem>
</file>

<file path=customXml/itemProps2.xml><?xml version="1.0" encoding="utf-8"?>
<ds:datastoreItem xmlns:ds="http://schemas.openxmlformats.org/officeDocument/2006/customXml" ds:itemID="{D7D8C7B1-8602-4A7A-8F55-3F279A366CFB}"/>
</file>

<file path=customXml/itemProps3.xml><?xml version="1.0" encoding="utf-8"?>
<ds:datastoreItem xmlns:ds="http://schemas.openxmlformats.org/officeDocument/2006/customXml" ds:itemID="{A1B772D2-8189-4AE9-AAB8-F5B1C601B4EA}">
  <ds:schemaRefs>
    <ds:schemaRef ds:uri="e8296bf3-f471-4815-84f2-8651f38d6c33"/>
    <ds:schemaRef ds:uri="f38a82ca-5df8-42ed-b296-ac404c73246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1C66EA0-F401-4E46-AE87-0CEB7AA89CBF}">
  <ds:schemaRefs>
    <ds:schemaRef ds:uri="http://www.joulesunlimited.com/juid"/>
  </ds:schemaRefs>
</ds:datastoreItem>
</file>

<file path=customXml/itemProps5.xml><?xml version="1.0" encoding="utf-8"?>
<ds:datastoreItem xmlns:ds="http://schemas.openxmlformats.org/officeDocument/2006/customXml" ds:itemID="{B1F87FA6-2521-5447-B606-9E80DC464F26}">
  <ds:schemaRefs>
    <ds:schemaRef ds:uri="http://www.joulesunlimited.com/juid"/>
  </ds:schemaRefs>
</ds:datastoreItem>
</file>

<file path=customXml/itemProps6.xml><?xml version="1.0" encoding="utf-8"?>
<ds:datastoreItem xmlns:ds="http://schemas.openxmlformats.org/officeDocument/2006/customXml" ds:itemID="{05B3F399-E2A0-6F48-A37C-C41590802DE2}">
  <ds:schemaRefs>
    <ds:schemaRef ds:uri="http://www.joulesunlimited.com/juid"/>
  </ds:schemaRefs>
</ds:datastoreItem>
</file>

<file path=customXml/itemProps7.xml><?xml version="1.0" encoding="utf-8"?>
<ds:datastoreItem xmlns:ds="http://schemas.openxmlformats.org/officeDocument/2006/customXml" ds:itemID="{07AF5B58-F2E7-C649-B57D-C354F02533FB}">
  <ds:schemaRefs>
    <ds:schemaRef ds:uri="http://www.joulesunlimited.com/juid"/>
  </ds:schemaRefs>
</ds:datastoreItem>
</file>

<file path=customXml/itemProps8.xml><?xml version="1.0" encoding="utf-8"?>
<ds:datastoreItem xmlns:ds="http://schemas.openxmlformats.org/officeDocument/2006/customXml" ds:itemID="{724C8D94-003E-A64B-9037-4F17E055C2BA}">
  <ds:schemaRefs>
    <ds:schemaRef ds:uri="http://www.joulesunlimited.com/juid"/>
  </ds:schemaRefs>
</ds:datastoreItem>
</file>

<file path=customXml/itemProps9.xml><?xml version="1.0" encoding="utf-8"?>
<ds:datastoreItem xmlns:ds="http://schemas.openxmlformats.org/officeDocument/2006/customXml" ds:itemID="{B586B0A9-4485-064D-B1EF-DBA053DE5629}">
  <ds:schemaRefs>
    <ds:schemaRef ds:uri="http://www.joulesunlimited.com/jui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5</TotalTime>
  <Words>869</Words>
  <Application>Microsoft Office PowerPoint</Application>
  <PresentationFormat>Widescreen</PresentationFormat>
  <Paragraphs>183</Paragraphs>
  <Slides>25</Slides>
  <Notes>25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rial</vt:lpstr>
      <vt:lpstr>Calibri</vt:lpstr>
      <vt:lpstr>Courier New</vt:lpstr>
      <vt:lpstr>Roboto</vt:lpstr>
      <vt:lpstr>Roboto Condensed</vt:lpstr>
      <vt:lpstr>Roboto Condensed Light</vt:lpstr>
      <vt:lpstr>Roboto Light</vt:lpstr>
      <vt:lpstr>Segoe UI</vt:lpstr>
      <vt:lpstr>Tahoma</vt:lpstr>
      <vt:lpstr>Wingdings</vt:lpstr>
      <vt:lpstr>Huisstijl</vt:lpstr>
      <vt:lpstr>think-cell Slide</vt:lpstr>
      <vt:lpstr>PowerPoint Presentation</vt:lpstr>
      <vt:lpstr>PowerPoint Presentation</vt:lpstr>
      <vt:lpstr>Questions</vt:lpstr>
      <vt:lpstr>Protecting Your Crown Jewels Data Visibility and Control</vt:lpstr>
      <vt:lpstr>The risks of dark data</vt:lpstr>
      <vt:lpstr>The risks of dark data</vt:lpstr>
      <vt:lpstr>Information Protection &amp; Governance </vt:lpstr>
      <vt:lpstr>Content Explorer</vt:lpstr>
      <vt:lpstr>Sensitive Information Type </vt:lpstr>
      <vt:lpstr>Sensitive Information Type Example </vt:lpstr>
      <vt:lpstr>Sensitive Information Type Example </vt:lpstr>
      <vt:lpstr>PowerPoint Presentation</vt:lpstr>
      <vt:lpstr>PowerPoint Presentation</vt:lpstr>
      <vt:lpstr>PowerPoint Presentation</vt:lpstr>
      <vt:lpstr>What is a sensitivity label</vt:lpstr>
      <vt:lpstr>Activity explorer</vt:lpstr>
      <vt:lpstr>Information Protection &amp; Governance </vt:lpstr>
      <vt:lpstr>What can they do?</vt:lpstr>
      <vt:lpstr>How are labels used?</vt:lpstr>
      <vt:lpstr>productivity vs. security</vt:lpstr>
      <vt:lpstr>situation @ Customer</vt:lpstr>
      <vt:lpstr>Approach</vt:lpstr>
      <vt:lpstr>Lessons Learned</vt:lpstr>
      <vt:lpstr>What’s new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 life cycle</dc:title>
  <dc:creator>Persoons, Mathias</dc:creator>
  <cp:lastModifiedBy>Persoons, Mathias</cp:lastModifiedBy>
  <cp:revision>1</cp:revision>
  <cp:lastPrinted>2023-06-26T15:45:03Z</cp:lastPrinted>
  <dcterms:created xsi:type="dcterms:W3CDTF">2023-04-25T14:08:58Z</dcterms:created>
  <dcterms:modified xsi:type="dcterms:W3CDTF">2023-06-28T07:3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AF6D32DE88FD42B99FC7ED416674CA</vt:lpwstr>
  </property>
  <property fmtid="{D5CDD505-2E9C-101B-9397-08002B2CF9AE}" pid="3" name="MediaServiceImageTags">
    <vt:lpwstr/>
  </property>
</Properties>
</file>